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1"/>
  </p:sldMasterIdLst>
  <p:notesMasterIdLst>
    <p:notesMasterId r:id="rId12"/>
  </p:notesMasterIdLst>
  <p:handoutMasterIdLst>
    <p:handoutMasterId r:id="rId13"/>
  </p:handoutMasterIdLst>
  <p:sldIdLst>
    <p:sldId id="353" r:id="rId2"/>
    <p:sldId id="385" r:id="rId3"/>
    <p:sldId id="386" r:id="rId4"/>
    <p:sldId id="388" r:id="rId5"/>
    <p:sldId id="389" r:id="rId6"/>
    <p:sldId id="391" r:id="rId7"/>
    <p:sldId id="393" r:id="rId8"/>
    <p:sldId id="305" r:id="rId9"/>
    <p:sldId id="306" r:id="rId10"/>
    <p:sldId id="387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5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54E47"/>
    <a:srgbClr val="65553C"/>
    <a:srgbClr val="686963"/>
    <a:srgbClr val="03060D"/>
    <a:srgbClr val="68942C"/>
    <a:srgbClr val="629324"/>
    <a:srgbClr val="939393"/>
    <a:srgbClr val="1E1E96"/>
    <a:srgbClr val="00C8E6"/>
    <a:srgbClr val="D2D2D2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3C68AF-0414-4A9F-93AE-41BF86B57833}" v="2" dt="2019-02-01T18:33:28.9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81" autoAdjust="0"/>
    <p:restoredTop sz="79003" autoAdjust="0"/>
  </p:normalViewPr>
  <p:slideViewPr>
    <p:cSldViewPr snapToGrid="0">
      <p:cViewPr varScale="1">
        <p:scale>
          <a:sx n="50" d="100"/>
          <a:sy n="50" d="100"/>
        </p:scale>
        <p:origin x="1168" y="2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98" d="100"/>
          <a:sy n="98" d="100"/>
        </p:scale>
        <p:origin x="3516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3E2305-466C-4623-BA03-7D1ABB7C9E8B}" type="datetimeFigureOut">
              <a:rPr lang="en-GB" smtClean="0"/>
              <a:t>01/02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AB2DDB-3F36-4FB8-8004-74C0E9CD6F5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13047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94DEE1-CFED-4862-80A6-C1C29819A1DC}" type="datetimeFigureOut">
              <a:rPr lang="en-GB" smtClean="0"/>
              <a:t>01/02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745B09-AD31-409C-B2BB-E7C534396A2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90389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3"/>
            <a:ext cx="11425237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11430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1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2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 February 2019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3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0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52424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18672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1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 February 2019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1"/>
            <a:ext cx="12192000" cy="152402"/>
          </a:xfrm>
          <a:prstGeom prst="rect">
            <a:avLst/>
          </a:prstGeom>
          <a:gradFill>
            <a:gsLst>
              <a:gs pos="0">
                <a:srgbClr val="00C8E6"/>
              </a:gs>
              <a:gs pos="97000">
                <a:srgbClr val="1E1E9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44591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8595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80999"/>
            <a:ext cx="11425237" cy="82137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1295401"/>
            <a:ext cx="379476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1295401"/>
            <a:ext cx="3803904" cy="4953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295401"/>
            <a:ext cx="3794760" cy="4953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 February 2019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67340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80999"/>
            <a:ext cx="11425237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048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1295401"/>
            <a:ext cx="379476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1295401"/>
            <a:ext cx="3803904" cy="4953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295401"/>
            <a:ext cx="3794760" cy="4953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12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3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5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6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 February 2019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7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4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8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59026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8448"/>
            <a:ext cx="11431590" cy="4956048"/>
          </a:xfrm>
        </p:spPr>
        <p:txBody>
          <a:bodyPr/>
          <a:lstStyle>
            <a:lvl1pPr>
              <a:lnSpc>
                <a:spcPct val="90000"/>
              </a:lnSpc>
              <a:defRPr sz="4800">
                <a:latin typeface="+mj-lt"/>
              </a:defRPr>
            </a:lvl1pPr>
            <a:lvl2pPr>
              <a:defRPr sz="4400">
                <a:latin typeface="+mj-lt"/>
              </a:defRPr>
            </a:lvl2pPr>
            <a:lvl3pPr>
              <a:defRPr sz="4000">
                <a:latin typeface="+mj-lt"/>
              </a:defRPr>
            </a:lvl3pPr>
            <a:lvl4pPr>
              <a:defRPr sz="3600">
                <a:latin typeface="+mj-lt"/>
              </a:defRPr>
            </a:lvl4pPr>
            <a:lvl5pPr>
              <a:defRPr sz="3200">
                <a:latin typeface="+mj-lt"/>
              </a:defRPr>
            </a:lvl5pPr>
          </a:lstStyle>
          <a:p>
            <a:pPr lvl="0"/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 February 2019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330704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2" y="384048"/>
            <a:ext cx="11430000" cy="5864352"/>
          </a:xfrm>
        </p:spPr>
        <p:txBody>
          <a:bodyPr rIns="0"/>
          <a:lstStyle>
            <a:lvl1pPr>
              <a:lnSpc>
                <a:spcPct val="90000"/>
              </a:lnSpc>
              <a:defRPr sz="32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sz="2200"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 February 2019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198147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4048" y="384048"/>
            <a:ext cx="11426952" cy="5861304"/>
          </a:xfrm>
        </p:spPr>
        <p:txBody>
          <a:bodyPr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 February 2019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909826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Only_ 1/3 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384048"/>
            <a:ext cx="3794760" cy="586130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384048"/>
            <a:ext cx="7623048" cy="586130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1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2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 February 2019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3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0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00450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384048"/>
            <a:ext cx="3794760" cy="586130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384048"/>
            <a:ext cx="3803904" cy="586130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384048"/>
            <a:ext cx="3794760" cy="586130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10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1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 February 2019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895824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4"/>
          <p:cNvSpPr>
            <a:spLocks noGrp="1"/>
          </p:cNvSpPr>
          <p:nvPr>
            <p:ph sz="quarter" idx="13"/>
          </p:nvPr>
        </p:nvSpPr>
        <p:spPr>
          <a:xfrm>
            <a:off x="384048" y="383675"/>
            <a:ext cx="7616952" cy="586130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019288" y="381000"/>
            <a:ext cx="3794760" cy="586422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0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1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 February 2019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2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9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3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52948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384048" y="3840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384048" y="3314646"/>
            <a:ext cx="3816000" cy="2935224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187310" y="3840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4187310" y="3314646"/>
            <a:ext cx="3816000" cy="2938462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8001000" y="3840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8001000" y="3314646"/>
            <a:ext cx="3816000" cy="2938462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1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2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 February 2019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2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2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58909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11430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0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 February 2019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07106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384048" y="1395358"/>
            <a:ext cx="3816000" cy="2423745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384048" y="3822342"/>
            <a:ext cx="3816000" cy="2427527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187310" y="1395358"/>
            <a:ext cx="3816000" cy="2423745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4187310" y="3822904"/>
            <a:ext cx="3816000" cy="2430204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8001000" y="1395358"/>
            <a:ext cx="3816000" cy="2423745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8001000" y="3822904"/>
            <a:ext cx="3816000" cy="2430204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1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2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 February 2019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2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2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4715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4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5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7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8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 February 2019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9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6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0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885058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 userDrawn="1"/>
        </p:nvSpPr>
        <p:spPr>
          <a:xfrm>
            <a:off x="3532" y="33077"/>
            <a:ext cx="12185420" cy="68295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6" name="Freeform 5"/>
          <p:cNvSpPr/>
          <p:nvPr userDrawn="1"/>
        </p:nvSpPr>
        <p:spPr>
          <a:xfrm>
            <a:off x="0" y="3602940"/>
            <a:ext cx="3586808" cy="3259673"/>
          </a:xfrm>
          <a:custGeom>
            <a:avLst/>
            <a:gdLst>
              <a:gd name="connsiteX0" fmla="*/ 1392248 w 3580909"/>
              <a:gd name="connsiteY0" fmla="*/ 0 h 3209249"/>
              <a:gd name="connsiteX1" fmla="*/ 0 w 3580909"/>
              <a:gd name="connsiteY1" fmla="*/ 3209249 h 3209249"/>
              <a:gd name="connsiteX2" fmla="*/ 3580909 w 3580909"/>
              <a:gd name="connsiteY2" fmla="*/ 1215267 h 3209249"/>
              <a:gd name="connsiteX3" fmla="*/ 1392248 w 3580909"/>
              <a:gd name="connsiteY3" fmla="*/ 0 h 3209249"/>
              <a:gd name="connsiteX0" fmla="*/ 1406371 w 3595032"/>
              <a:gd name="connsiteY0" fmla="*/ 0 h 3209249"/>
              <a:gd name="connsiteX1" fmla="*/ 0 w 3595032"/>
              <a:gd name="connsiteY1" fmla="*/ 3209249 h 3209249"/>
              <a:gd name="connsiteX2" fmla="*/ 3595032 w 3595032"/>
              <a:gd name="connsiteY2" fmla="*/ 1215267 h 3209249"/>
              <a:gd name="connsiteX3" fmla="*/ 1406371 w 3595032"/>
              <a:gd name="connsiteY3" fmla="*/ 0 h 3209249"/>
              <a:gd name="connsiteX0" fmla="*/ 1399310 w 3587971"/>
              <a:gd name="connsiteY0" fmla="*/ 0 h 3209249"/>
              <a:gd name="connsiteX1" fmla="*/ 0 w 3587971"/>
              <a:gd name="connsiteY1" fmla="*/ 3209249 h 3209249"/>
              <a:gd name="connsiteX2" fmla="*/ 3587971 w 3587971"/>
              <a:gd name="connsiteY2" fmla="*/ 1215267 h 3209249"/>
              <a:gd name="connsiteX3" fmla="*/ 1399310 w 3587971"/>
              <a:gd name="connsiteY3" fmla="*/ 0 h 3209249"/>
              <a:gd name="connsiteX0" fmla="*/ 1399310 w 3587971"/>
              <a:gd name="connsiteY0" fmla="*/ 0 h 3252111"/>
              <a:gd name="connsiteX1" fmla="*/ 0 w 3587971"/>
              <a:gd name="connsiteY1" fmla="*/ 3252111 h 3252111"/>
              <a:gd name="connsiteX2" fmla="*/ 3587971 w 3587971"/>
              <a:gd name="connsiteY2" fmla="*/ 1258129 h 3252111"/>
              <a:gd name="connsiteX3" fmla="*/ 1399310 w 3587971"/>
              <a:gd name="connsiteY3" fmla="*/ 0 h 3252111"/>
              <a:gd name="connsiteX0" fmla="*/ 1396734 w 3585395"/>
              <a:gd name="connsiteY0" fmla="*/ 0 h 3264990"/>
              <a:gd name="connsiteX1" fmla="*/ 0 w 3585395"/>
              <a:gd name="connsiteY1" fmla="*/ 3264990 h 3264990"/>
              <a:gd name="connsiteX2" fmla="*/ 3585395 w 3585395"/>
              <a:gd name="connsiteY2" fmla="*/ 1258129 h 3264990"/>
              <a:gd name="connsiteX3" fmla="*/ 1396734 w 3585395"/>
              <a:gd name="connsiteY3" fmla="*/ 0 h 3264990"/>
              <a:gd name="connsiteX0" fmla="*/ 1404461 w 3593122"/>
              <a:gd name="connsiteY0" fmla="*/ 0 h 3267566"/>
              <a:gd name="connsiteX1" fmla="*/ 0 w 3593122"/>
              <a:gd name="connsiteY1" fmla="*/ 3267566 h 3267566"/>
              <a:gd name="connsiteX2" fmla="*/ 3593122 w 3593122"/>
              <a:gd name="connsiteY2" fmla="*/ 1258129 h 3267566"/>
              <a:gd name="connsiteX3" fmla="*/ 1404461 w 3593122"/>
              <a:gd name="connsiteY3" fmla="*/ 0 h 3267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3122" h="3267566">
                <a:moveTo>
                  <a:pt x="1404461" y="0"/>
                </a:moveTo>
                <a:lnTo>
                  <a:pt x="0" y="3267566"/>
                </a:lnTo>
                <a:lnTo>
                  <a:pt x="3593122" y="1258129"/>
                </a:lnTo>
                <a:lnTo>
                  <a:pt x="1404461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7" name="Freeform 6"/>
          <p:cNvSpPr/>
          <p:nvPr userDrawn="1"/>
        </p:nvSpPr>
        <p:spPr>
          <a:xfrm>
            <a:off x="1390330" y="1741468"/>
            <a:ext cx="2199979" cy="3164694"/>
          </a:xfrm>
          <a:custGeom>
            <a:avLst/>
            <a:gdLst>
              <a:gd name="connsiteX0" fmla="*/ 1739462 w 2186152"/>
              <a:gd name="connsiteY0" fmla="*/ 0 h 3095296"/>
              <a:gd name="connsiteX1" fmla="*/ 0 w 2186152"/>
              <a:gd name="connsiteY1" fmla="*/ 1891862 h 3095296"/>
              <a:gd name="connsiteX2" fmla="*/ 2186152 w 2186152"/>
              <a:gd name="connsiteY2" fmla="*/ 3095296 h 3095296"/>
              <a:gd name="connsiteX3" fmla="*/ 1739462 w 2186152"/>
              <a:gd name="connsiteY3" fmla="*/ 0 h 3095296"/>
              <a:gd name="connsiteX0" fmla="*/ 1733563 w 2186152"/>
              <a:gd name="connsiteY0" fmla="*/ 0 h 3112994"/>
              <a:gd name="connsiteX1" fmla="*/ 0 w 2186152"/>
              <a:gd name="connsiteY1" fmla="*/ 1909560 h 3112994"/>
              <a:gd name="connsiteX2" fmla="*/ 2186152 w 2186152"/>
              <a:gd name="connsiteY2" fmla="*/ 3112994 h 3112994"/>
              <a:gd name="connsiteX3" fmla="*/ 1733563 w 2186152"/>
              <a:gd name="connsiteY3" fmla="*/ 0 h 3112994"/>
              <a:gd name="connsiteX0" fmla="*/ 1752613 w 2186152"/>
              <a:gd name="connsiteY0" fmla="*/ 0 h 3108232"/>
              <a:gd name="connsiteX1" fmla="*/ 0 w 2186152"/>
              <a:gd name="connsiteY1" fmla="*/ 1904798 h 3108232"/>
              <a:gd name="connsiteX2" fmla="*/ 2186152 w 2186152"/>
              <a:gd name="connsiteY2" fmla="*/ 3108232 h 3108232"/>
              <a:gd name="connsiteX3" fmla="*/ 1752613 w 2186152"/>
              <a:gd name="connsiteY3" fmla="*/ 0 h 3108232"/>
              <a:gd name="connsiteX0" fmla="*/ 1738326 w 2186152"/>
              <a:gd name="connsiteY0" fmla="*/ 0 h 3108232"/>
              <a:gd name="connsiteX1" fmla="*/ 0 w 2186152"/>
              <a:gd name="connsiteY1" fmla="*/ 1904798 h 3108232"/>
              <a:gd name="connsiteX2" fmla="*/ 2186152 w 2186152"/>
              <a:gd name="connsiteY2" fmla="*/ 3108232 h 3108232"/>
              <a:gd name="connsiteX3" fmla="*/ 1738326 w 2186152"/>
              <a:gd name="connsiteY3" fmla="*/ 0 h 3108232"/>
              <a:gd name="connsiteX0" fmla="*/ 1724039 w 2186152"/>
              <a:gd name="connsiteY0" fmla="*/ 0 h 3089182"/>
              <a:gd name="connsiteX1" fmla="*/ 0 w 2186152"/>
              <a:gd name="connsiteY1" fmla="*/ 1885748 h 3089182"/>
              <a:gd name="connsiteX2" fmla="*/ 2186152 w 2186152"/>
              <a:gd name="connsiteY2" fmla="*/ 3089182 h 3089182"/>
              <a:gd name="connsiteX3" fmla="*/ 1724039 w 2186152"/>
              <a:gd name="connsiteY3" fmla="*/ 0 h 3089182"/>
              <a:gd name="connsiteX0" fmla="*/ 1743089 w 2205202"/>
              <a:gd name="connsiteY0" fmla="*/ 0 h 3089182"/>
              <a:gd name="connsiteX1" fmla="*/ 0 w 2205202"/>
              <a:gd name="connsiteY1" fmla="*/ 1861935 h 3089182"/>
              <a:gd name="connsiteX2" fmla="*/ 2205202 w 2205202"/>
              <a:gd name="connsiteY2" fmla="*/ 3089182 h 3089182"/>
              <a:gd name="connsiteX3" fmla="*/ 1743089 w 2205202"/>
              <a:gd name="connsiteY3" fmla="*/ 0 h 3089182"/>
              <a:gd name="connsiteX0" fmla="*/ 1733564 w 2205202"/>
              <a:gd name="connsiteY0" fmla="*/ 0 h 3079657"/>
              <a:gd name="connsiteX1" fmla="*/ 0 w 2205202"/>
              <a:gd name="connsiteY1" fmla="*/ 1852410 h 3079657"/>
              <a:gd name="connsiteX2" fmla="*/ 2205202 w 2205202"/>
              <a:gd name="connsiteY2" fmla="*/ 3079657 h 3079657"/>
              <a:gd name="connsiteX3" fmla="*/ 1733564 w 2205202"/>
              <a:gd name="connsiteY3" fmla="*/ 0 h 3079657"/>
              <a:gd name="connsiteX0" fmla="*/ 1695464 w 2167102"/>
              <a:gd name="connsiteY0" fmla="*/ 0 h 3079657"/>
              <a:gd name="connsiteX1" fmla="*/ 0 w 2167102"/>
              <a:gd name="connsiteY1" fmla="*/ 1871460 h 3079657"/>
              <a:gd name="connsiteX2" fmla="*/ 2167102 w 2167102"/>
              <a:gd name="connsiteY2" fmla="*/ 3079657 h 3079657"/>
              <a:gd name="connsiteX3" fmla="*/ 1695464 w 2167102"/>
              <a:gd name="connsiteY3" fmla="*/ 0 h 3079657"/>
              <a:gd name="connsiteX0" fmla="*/ 1724039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24039 w 2195677"/>
              <a:gd name="connsiteY3" fmla="*/ 0 h 3079657"/>
              <a:gd name="connsiteX0" fmla="*/ 1746073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46073 w 2195677"/>
              <a:gd name="connsiteY3" fmla="*/ 0 h 3079657"/>
              <a:gd name="connsiteX0" fmla="*/ 1714323 w 2195677"/>
              <a:gd name="connsiteY0" fmla="*/ 0 h 3098707"/>
              <a:gd name="connsiteX1" fmla="*/ 0 w 2195677"/>
              <a:gd name="connsiteY1" fmla="*/ 1885748 h 3098707"/>
              <a:gd name="connsiteX2" fmla="*/ 2195677 w 2195677"/>
              <a:gd name="connsiteY2" fmla="*/ 3098707 h 3098707"/>
              <a:gd name="connsiteX3" fmla="*/ 1714323 w 2195677"/>
              <a:gd name="connsiteY3" fmla="*/ 0 h 3098707"/>
              <a:gd name="connsiteX0" fmla="*/ 1720673 w 2195677"/>
              <a:gd name="connsiteY0" fmla="*/ 0 h 3092357"/>
              <a:gd name="connsiteX1" fmla="*/ 0 w 2195677"/>
              <a:gd name="connsiteY1" fmla="*/ 1879398 h 3092357"/>
              <a:gd name="connsiteX2" fmla="*/ 2195677 w 2195677"/>
              <a:gd name="connsiteY2" fmla="*/ 3092357 h 3092357"/>
              <a:gd name="connsiteX3" fmla="*/ 1720673 w 2195677"/>
              <a:gd name="connsiteY3" fmla="*/ 0 h 3092357"/>
              <a:gd name="connsiteX0" fmla="*/ 1739723 w 2195677"/>
              <a:gd name="connsiteY0" fmla="*/ 0 h 3086007"/>
              <a:gd name="connsiteX1" fmla="*/ 0 w 2195677"/>
              <a:gd name="connsiteY1" fmla="*/ 1873048 h 3086007"/>
              <a:gd name="connsiteX2" fmla="*/ 2195677 w 2195677"/>
              <a:gd name="connsiteY2" fmla="*/ 3086007 h 3086007"/>
              <a:gd name="connsiteX3" fmla="*/ 1739723 w 2195677"/>
              <a:gd name="connsiteY3" fmla="*/ 0 h 3086007"/>
              <a:gd name="connsiteX0" fmla="*/ 1720673 w 2195677"/>
              <a:gd name="connsiteY0" fmla="*/ 0 h 3155857"/>
              <a:gd name="connsiteX1" fmla="*/ 0 w 2195677"/>
              <a:gd name="connsiteY1" fmla="*/ 1942898 h 3155857"/>
              <a:gd name="connsiteX2" fmla="*/ 2195677 w 2195677"/>
              <a:gd name="connsiteY2" fmla="*/ 3155857 h 3155857"/>
              <a:gd name="connsiteX3" fmla="*/ 1720673 w 2195677"/>
              <a:gd name="connsiteY3" fmla="*/ 0 h 3155857"/>
              <a:gd name="connsiteX0" fmla="*/ 1720673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20673 w 2195677"/>
              <a:gd name="connsiteY3" fmla="*/ 0 h 3079657"/>
              <a:gd name="connsiteX0" fmla="*/ 1720673 w 2195677"/>
              <a:gd name="connsiteY0" fmla="*/ 0 h 3149507"/>
              <a:gd name="connsiteX1" fmla="*/ 0 w 2195677"/>
              <a:gd name="connsiteY1" fmla="*/ 1936548 h 3149507"/>
              <a:gd name="connsiteX2" fmla="*/ 2195677 w 2195677"/>
              <a:gd name="connsiteY2" fmla="*/ 3149507 h 3149507"/>
              <a:gd name="connsiteX3" fmla="*/ 1720673 w 2195677"/>
              <a:gd name="connsiteY3" fmla="*/ 0 h 3149507"/>
              <a:gd name="connsiteX0" fmla="*/ 1739723 w 2214727"/>
              <a:gd name="connsiteY0" fmla="*/ 0 h 3149507"/>
              <a:gd name="connsiteX1" fmla="*/ 0 w 2214727"/>
              <a:gd name="connsiteY1" fmla="*/ 1936548 h 3149507"/>
              <a:gd name="connsiteX2" fmla="*/ 2214727 w 2214727"/>
              <a:gd name="connsiteY2" fmla="*/ 3149507 h 3149507"/>
              <a:gd name="connsiteX3" fmla="*/ 1739723 w 2214727"/>
              <a:gd name="connsiteY3" fmla="*/ 0 h 3149507"/>
              <a:gd name="connsiteX0" fmla="*/ 1739723 w 2214727"/>
              <a:gd name="connsiteY0" fmla="*/ 0 h 3149507"/>
              <a:gd name="connsiteX1" fmla="*/ 0 w 2214727"/>
              <a:gd name="connsiteY1" fmla="*/ 1936548 h 3149507"/>
              <a:gd name="connsiteX2" fmla="*/ 2214727 w 2214727"/>
              <a:gd name="connsiteY2" fmla="*/ 3149507 h 3149507"/>
              <a:gd name="connsiteX3" fmla="*/ 1739723 w 2214727"/>
              <a:gd name="connsiteY3" fmla="*/ 0 h 3149507"/>
              <a:gd name="connsiteX0" fmla="*/ 1724975 w 2199979"/>
              <a:gd name="connsiteY0" fmla="*/ 0 h 3149507"/>
              <a:gd name="connsiteX1" fmla="*/ 0 w 2199979"/>
              <a:gd name="connsiteY1" fmla="*/ 1921800 h 3149507"/>
              <a:gd name="connsiteX2" fmla="*/ 2199979 w 2199979"/>
              <a:gd name="connsiteY2" fmla="*/ 3149507 h 3149507"/>
              <a:gd name="connsiteX3" fmla="*/ 1724975 w 2199979"/>
              <a:gd name="connsiteY3" fmla="*/ 0 h 3149507"/>
              <a:gd name="connsiteX0" fmla="*/ 1722399 w 2199979"/>
              <a:gd name="connsiteY0" fmla="*/ 0 h 3072234"/>
              <a:gd name="connsiteX1" fmla="*/ 0 w 2199979"/>
              <a:gd name="connsiteY1" fmla="*/ 1844527 h 3072234"/>
              <a:gd name="connsiteX2" fmla="*/ 2199979 w 2199979"/>
              <a:gd name="connsiteY2" fmla="*/ 3072234 h 3072234"/>
              <a:gd name="connsiteX3" fmla="*/ 1722399 w 2199979"/>
              <a:gd name="connsiteY3" fmla="*/ 0 h 3072234"/>
              <a:gd name="connsiteX0" fmla="*/ 1722399 w 2199979"/>
              <a:gd name="connsiteY0" fmla="*/ 0 h 3123750"/>
              <a:gd name="connsiteX1" fmla="*/ 0 w 2199979"/>
              <a:gd name="connsiteY1" fmla="*/ 1896043 h 3123750"/>
              <a:gd name="connsiteX2" fmla="*/ 2199979 w 2199979"/>
              <a:gd name="connsiteY2" fmla="*/ 3123750 h 3123750"/>
              <a:gd name="connsiteX3" fmla="*/ 1722399 w 2199979"/>
              <a:gd name="connsiteY3" fmla="*/ 0 h 3123750"/>
              <a:gd name="connsiteX0" fmla="*/ 1736047 w 2199979"/>
              <a:gd name="connsiteY0" fmla="*/ 0 h 3164694"/>
              <a:gd name="connsiteX1" fmla="*/ 0 w 2199979"/>
              <a:gd name="connsiteY1" fmla="*/ 1936987 h 3164694"/>
              <a:gd name="connsiteX2" fmla="*/ 2199979 w 2199979"/>
              <a:gd name="connsiteY2" fmla="*/ 3164694 h 3164694"/>
              <a:gd name="connsiteX3" fmla="*/ 1736047 w 2199979"/>
              <a:gd name="connsiteY3" fmla="*/ 0 h 3164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9979" h="3164694">
                <a:moveTo>
                  <a:pt x="1736047" y="0"/>
                </a:moveTo>
                <a:lnTo>
                  <a:pt x="0" y="1936987"/>
                </a:lnTo>
                <a:lnTo>
                  <a:pt x="2199979" y="3164694"/>
                </a:lnTo>
                <a:lnTo>
                  <a:pt x="1736047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8" name="Freeform 7"/>
          <p:cNvSpPr/>
          <p:nvPr userDrawn="1"/>
        </p:nvSpPr>
        <p:spPr>
          <a:xfrm>
            <a:off x="6375805" y="1"/>
            <a:ext cx="4644129" cy="1222744"/>
          </a:xfrm>
          <a:custGeom>
            <a:avLst/>
            <a:gdLst>
              <a:gd name="connsiteX0" fmla="*/ 0 w 4550735"/>
              <a:gd name="connsiteY0" fmla="*/ 0 h 1222745"/>
              <a:gd name="connsiteX1" fmla="*/ 1222744 w 4550735"/>
              <a:gd name="connsiteY1" fmla="*/ 1222745 h 1222745"/>
              <a:gd name="connsiteX2" fmla="*/ 4550735 w 4550735"/>
              <a:gd name="connsiteY2" fmla="*/ 10633 h 1222745"/>
              <a:gd name="connsiteX3" fmla="*/ 0 w 4550735"/>
              <a:gd name="connsiteY3" fmla="*/ 0 h 1222745"/>
              <a:gd name="connsiteX0" fmla="*/ 0 w 4582633"/>
              <a:gd name="connsiteY0" fmla="*/ 10633 h 1212112"/>
              <a:gd name="connsiteX1" fmla="*/ 1254642 w 4582633"/>
              <a:gd name="connsiteY1" fmla="*/ 1212112 h 1212112"/>
              <a:gd name="connsiteX2" fmla="*/ 4582633 w 4582633"/>
              <a:gd name="connsiteY2" fmla="*/ 0 h 1212112"/>
              <a:gd name="connsiteX3" fmla="*/ 0 w 4582633"/>
              <a:gd name="connsiteY3" fmla="*/ 10633 h 1212112"/>
              <a:gd name="connsiteX0" fmla="*/ 0 w 4566685"/>
              <a:gd name="connsiteY0" fmla="*/ 0 h 1228061"/>
              <a:gd name="connsiteX1" fmla="*/ 1238694 w 4566685"/>
              <a:gd name="connsiteY1" fmla="*/ 1228061 h 1228061"/>
              <a:gd name="connsiteX2" fmla="*/ 4566685 w 4566685"/>
              <a:gd name="connsiteY2" fmla="*/ 15949 h 1228061"/>
              <a:gd name="connsiteX3" fmla="*/ 0 w 4566685"/>
              <a:gd name="connsiteY3" fmla="*/ 0 h 1228061"/>
              <a:gd name="connsiteX0" fmla="*/ 0 w 4566685"/>
              <a:gd name="connsiteY0" fmla="*/ 0 h 1217428"/>
              <a:gd name="connsiteX1" fmla="*/ 1238694 w 4566685"/>
              <a:gd name="connsiteY1" fmla="*/ 1217428 h 1217428"/>
              <a:gd name="connsiteX2" fmla="*/ 4566685 w 4566685"/>
              <a:gd name="connsiteY2" fmla="*/ 5316 h 1217428"/>
              <a:gd name="connsiteX3" fmla="*/ 0 w 4566685"/>
              <a:gd name="connsiteY3" fmla="*/ 0 h 1217428"/>
              <a:gd name="connsiteX0" fmla="*/ 0 w 4614532"/>
              <a:gd name="connsiteY0" fmla="*/ 0 h 1217428"/>
              <a:gd name="connsiteX1" fmla="*/ 1238694 w 4614532"/>
              <a:gd name="connsiteY1" fmla="*/ 1217428 h 1217428"/>
              <a:gd name="connsiteX2" fmla="*/ 4614532 w 4614532"/>
              <a:gd name="connsiteY2" fmla="*/ 5316 h 1217428"/>
              <a:gd name="connsiteX3" fmla="*/ 0 w 4614532"/>
              <a:gd name="connsiteY3" fmla="*/ 0 h 1217428"/>
              <a:gd name="connsiteX0" fmla="*/ 0 w 4614532"/>
              <a:gd name="connsiteY0" fmla="*/ 0 h 1228060"/>
              <a:gd name="connsiteX1" fmla="*/ 1286541 w 4614532"/>
              <a:gd name="connsiteY1" fmla="*/ 1228060 h 1228060"/>
              <a:gd name="connsiteX2" fmla="*/ 4614532 w 4614532"/>
              <a:gd name="connsiteY2" fmla="*/ 5316 h 1228060"/>
              <a:gd name="connsiteX3" fmla="*/ 0 w 4614532"/>
              <a:gd name="connsiteY3" fmla="*/ 0 h 1228060"/>
              <a:gd name="connsiteX0" fmla="*/ 0 w 4614532"/>
              <a:gd name="connsiteY0" fmla="*/ 10633 h 1222744"/>
              <a:gd name="connsiteX1" fmla="*/ 1286541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10633 h 1222744"/>
              <a:gd name="connsiteX0" fmla="*/ 0 w 4614532"/>
              <a:gd name="connsiteY0" fmla="*/ 10633 h 1201479"/>
              <a:gd name="connsiteX1" fmla="*/ 1238695 w 4614532"/>
              <a:gd name="connsiteY1" fmla="*/ 1201479 h 1201479"/>
              <a:gd name="connsiteX2" fmla="*/ 4614532 w 4614532"/>
              <a:gd name="connsiteY2" fmla="*/ 0 h 1201479"/>
              <a:gd name="connsiteX3" fmla="*/ 0 w 4614532"/>
              <a:gd name="connsiteY3" fmla="*/ 10633 h 1201479"/>
              <a:gd name="connsiteX0" fmla="*/ 0 w 4614532"/>
              <a:gd name="connsiteY0" fmla="*/ 10633 h 1222744"/>
              <a:gd name="connsiteX1" fmla="*/ 1249328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10633 h 1222744"/>
              <a:gd name="connsiteX0" fmla="*/ 0 w 4614532"/>
              <a:gd name="connsiteY0" fmla="*/ 0 h 1222744"/>
              <a:gd name="connsiteX1" fmla="*/ 1249328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0 h 1222744"/>
              <a:gd name="connsiteX0" fmla="*/ 0 w 4630481"/>
              <a:gd name="connsiteY0" fmla="*/ 0 h 1222744"/>
              <a:gd name="connsiteX1" fmla="*/ 1249328 w 4630481"/>
              <a:gd name="connsiteY1" fmla="*/ 1222744 h 1222744"/>
              <a:gd name="connsiteX2" fmla="*/ 4630481 w 4630481"/>
              <a:gd name="connsiteY2" fmla="*/ 0 h 1222744"/>
              <a:gd name="connsiteX3" fmla="*/ 0 w 4630481"/>
              <a:gd name="connsiteY3" fmla="*/ 0 h 1222744"/>
              <a:gd name="connsiteX0" fmla="*/ 0 w 4671425"/>
              <a:gd name="connsiteY0" fmla="*/ 0 h 1222744"/>
              <a:gd name="connsiteX1" fmla="*/ 1290272 w 4671425"/>
              <a:gd name="connsiteY1" fmla="*/ 1222744 h 1222744"/>
              <a:gd name="connsiteX2" fmla="*/ 4671425 w 4671425"/>
              <a:gd name="connsiteY2" fmla="*/ 0 h 1222744"/>
              <a:gd name="connsiteX3" fmla="*/ 0 w 4671425"/>
              <a:gd name="connsiteY3" fmla="*/ 0 h 1222744"/>
              <a:gd name="connsiteX0" fmla="*/ 0 w 4671425"/>
              <a:gd name="connsiteY0" fmla="*/ 0 h 1222744"/>
              <a:gd name="connsiteX1" fmla="*/ 1290272 w 4671425"/>
              <a:gd name="connsiteY1" fmla="*/ 1222744 h 1222744"/>
              <a:gd name="connsiteX2" fmla="*/ 4671425 w 4671425"/>
              <a:gd name="connsiteY2" fmla="*/ 614149 h 1222744"/>
              <a:gd name="connsiteX3" fmla="*/ 0 w 4671425"/>
              <a:gd name="connsiteY3" fmla="*/ 0 h 1222744"/>
              <a:gd name="connsiteX0" fmla="*/ 0 w 4657777"/>
              <a:gd name="connsiteY0" fmla="*/ 13648 h 1236392"/>
              <a:gd name="connsiteX1" fmla="*/ 1290272 w 4657777"/>
              <a:gd name="connsiteY1" fmla="*/ 1236392 h 1236392"/>
              <a:gd name="connsiteX2" fmla="*/ 4657777 w 4657777"/>
              <a:gd name="connsiteY2" fmla="*/ 0 h 1236392"/>
              <a:gd name="connsiteX3" fmla="*/ 0 w 4657777"/>
              <a:gd name="connsiteY3" fmla="*/ 13648 h 1236392"/>
              <a:gd name="connsiteX0" fmla="*/ 0 w 4644129"/>
              <a:gd name="connsiteY0" fmla="*/ 0 h 1222744"/>
              <a:gd name="connsiteX1" fmla="*/ 1290272 w 4644129"/>
              <a:gd name="connsiteY1" fmla="*/ 1222744 h 1222744"/>
              <a:gd name="connsiteX2" fmla="*/ 4644129 w 4644129"/>
              <a:gd name="connsiteY2" fmla="*/ 0 h 1222744"/>
              <a:gd name="connsiteX3" fmla="*/ 0 w 4644129"/>
              <a:gd name="connsiteY3" fmla="*/ 0 h 122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4129" h="1222744">
                <a:moveTo>
                  <a:pt x="0" y="0"/>
                </a:moveTo>
                <a:lnTo>
                  <a:pt x="1290272" y="1222744"/>
                </a:lnTo>
                <a:lnTo>
                  <a:pt x="4644129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reeform 8"/>
          <p:cNvSpPr/>
          <p:nvPr userDrawn="1"/>
        </p:nvSpPr>
        <p:spPr>
          <a:xfrm>
            <a:off x="4052439" y="2989173"/>
            <a:ext cx="3708351" cy="2971471"/>
          </a:xfrm>
          <a:custGeom>
            <a:avLst/>
            <a:gdLst>
              <a:gd name="connsiteX0" fmla="*/ 2291255 w 3641834"/>
              <a:gd name="connsiteY0" fmla="*/ 0 h 2958662"/>
              <a:gd name="connsiteX1" fmla="*/ 3641834 w 3641834"/>
              <a:gd name="connsiteY1" fmla="*/ 1692165 h 2958662"/>
              <a:gd name="connsiteX2" fmla="*/ 0 w 3641834"/>
              <a:gd name="connsiteY2" fmla="*/ 2958662 h 2958662"/>
              <a:gd name="connsiteX3" fmla="*/ 2291255 w 3641834"/>
              <a:gd name="connsiteY3" fmla="*/ 0 h 2958662"/>
              <a:gd name="connsiteX0" fmla="*/ 2291255 w 3641834"/>
              <a:gd name="connsiteY0" fmla="*/ 0 h 2963917"/>
              <a:gd name="connsiteX1" fmla="*/ 3641834 w 3641834"/>
              <a:gd name="connsiteY1" fmla="*/ 1697420 h 2963917"/>
              <a:gd name="connsiteX2" fmla="*/ 0 w 3641834"/>
              <a:gd name="connsiteY2" fmla="*/ 2963917 h 2963917"/>
              <a:gd name="connsiteX3" fmla="*/ 2291255 w 3641834"/>
              <a:gd name="connsiteY3" fmla="*/ 0 h 2963917"/>
              <a:gd name="connsiteX0" fmla="*/ 2301765 w 3641834"/>
              <a:gd name="connsiteY0" fmla="*/ 0 h 2948152"/>
              <a:gd name="connsiteX1" fmla="*/ 3641834 w 3641834"/>
              <a:gd name="connsiteY1" fmla="*/ 1681655 h 2948152"/>
              <a:gd name="connsiteX2" fmla="*/ 0 w 3641834"/>
              <a:gd name="connsiteY2" fmla="*/ 2948152 h 2948152"/>
              <a:gd name="connsiteX3" fmla="*/ 2301765 w 3641834"/>
              <a:gd name="connsiteY3" fmla="*/ 0 h 2948152"/>
              <a:gd name="connsiteX0" fmla="*/ 2293452 w 3641834"/>
              <a:gd name="connsiteY0" fmla="*/ 0 h 2948152"/>
              <a:gd name="connsiteX1" fmla="*/ 3641834 w 3641834"/>
              <a:gd name="connsiteY1" fmla="*/ 1681655 h 2948152"/>
              <a:gd name="connsiteX2" fmla="*/ 0 w 3641834"/>
              <a:gd name="connsiteY2" fmla="*/ 2948152 h 2948152"/>
              <a:gd name="connsiteX3" fmla="*/ 2293452 w 3641834"/>
              <a:gd name="connsiteY3" fmla="*/ 0 h 2948152"/>
              <a:gd name="connsiteX0" fmla="*/ 2305379 w 3653761"/>
              <a:gd name="connsiteY0" fmla="*/ 0 h 2944176"/>
              <a:gd name="connsiteX1" fmla="*/ 3653761 w 3653761"/>
              <a:gd name="connsiteY1" fmla="*/ 1681655 h 2944176"/>
              <a:gd name="connsiteX2" fmla="*/ 0 w 3653761"/>
              <a:gd name="connsiteY2" fmla="*/ 2944176 h 2944176"/>
              <a:gd name="connsiteX3" fmla="*/ 2305379 w 3653761"/>
              <a:gd name="connsiteY3" fmla="*/ 0 h 2944176"/>
              <a:gd name="connsiteX0" fmla="*/ 2291731 w 3653761"/>
              <a:gd name="connsiteY0" fmla="*/ 0 h 2944176"/>
              <a:gd name="connsiteX1" fmla="*/ 3653761 w 3653761"/>
              <a:gd name="connsiteY1" fmla="*/ 1681655 h 2944176"/>
              <a:gd name="connsiteX2" fmla="*/ 0 w 3653761"/>
              <a:gd name="connsiteY2" fmla="*/ 2944176 h 2944176"/>
              <a:gd name="connsiteX3" fmla="*/ 2291731 w 3653761"/>
              <a:gd name="connsiteY3" fmla="*/ 0 h 2944176"/>
              <a:gd name="connsiteX0" fmla="*/ 2305378 w 3653761"/>
              <a:gd name="connsiteY0" fmla="*/ 0 h 2971471"/>
              <a:gd name="connsiteX1" fmla="*/ 3653761 w 3653761"/>
              <a:gd name="connsiteY1" fmla="*/ 1708950 h 2971471"/>
              <a:gd name="connsiteX2" fmla="*/ 0 w 3653761"/>
              <a:gd name="connsiteY2" fmla="*/ 2971471 h 2971471"/>
              <a:gd name="connsiteX3" fmla="*/ 2305378 w 3653761"/>
              <a:gd name="connsiteY3" fmla="*/ 0 h 2971471"/>
              <a:gd name="connsiteX0" fmla="*/ 2305378 w 3694704"/>
              <a:gd name="connsiteY0" fmla="*/ 0 h 2971471"/>
              <a:gd name="connsiteX1" fmla="*/ 3694704 w 3694704"/>
              <a:gd name="connsiteY1" fmla="*/ 1722598 h 2971471"/>
              <a:gd name="connsiteX2" fmla="*/ 0 w 3694704"/>
              <a:gd name="connsiteY2" fmla="*/ 2971471 h 2971471"/>
              <a:gd name="connsiteX3" fmla="*/ 2305378 w 3694704"/>
              <a:gd name="connsiteY3" fmla="*/ 0 h 2971471"/>
              <a:gd name="connsiteX0" fmla="*/ 2319025 w 3708351"/>
              <a:gd name="connsiteY0" fmla="*/ 0 h 2971471"/>
              <a:gd name="connsiteX1" fmla="*/ 3708351 w 3708351"/>
              <a:gd name="connsiteY1" fmla="*/ 1722598 h 2971471"/>
              <a:gd name="connsiteX2" fmla="*/ 0 w 3708351"/>
              <a:gd name="connsiteY2" fmla="*/ 2971471 h 2971471"/>
              <a:gd name="connsiteX3" fmla="*/ 2319025 w 3708351"/>
              <a:gd name="connsiteY3" fmla="*/ 0 h 2971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8351" h="2971471">
                <a:moveTo>
                  <a:pt x="2319025" y="0"/>
                </a:moveTo>
                <a:lnTo>
                  <a:pt x="3708351" y="1722598"/>
                </a:lnTo>
                <a:lnTo>
                  <a:pt x="0" y="2971471"/>
                </a:lnTo>
                <a:lnTo>
                  <a:pt x="2319025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5000">
                <a:schemeClr val="accent2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0" name="Freeform 9"/>
          <p:cNvSpPr/>
          <p:nvPr userDrawn="1"/>
        </p:nvSpPr>
        <p:spPr>
          <a:xfrm>
            <a:off x="-3085" y="-4317"/>
            <a:ext cx="3366670" cy="1808791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346198"/>
              <a:gd name="connsiteY0" fmla="*/ 0 h 1771137"/>
              <a:gd name="connsiteX1" fmla="*/ 3346198 w 3346198"/>
              <a:gd name="connsiteY1" fmla="*/ 3282 h 1771137"/>
              <a:gd name="connsiteX2" fmla="*/ 3153403 w 3346198"/>
              <a:gd name="connsiteY2" fmla="*/ 1771137 h 1771137"/>
              <a:gd name="connsiteX3" fmla="*/ 0 w 3346198"/>
              <a:gd name="connsiteY3" fmla="*/ 0 h 1771137"/>
              <a:gd name="connsiteX0" fmla="*/ 0 w 3346198"/>
              <a:gd name="connsiteY0" fmla="*/ 0 h 1766374"/>
              <a:gd name="connsiteX1" fmla="*/ 3346198 w 3346198"/>
              <a:gd name="connsiteY1" fmla="*/ 3282 h 1766374"/>
              <a:gd name="connsiteX2" fmla="*/ 3110540 w 3346198"/>
              <a:gd name="connsiteY2" fmla="*/ 1766374 h 1766374"/>
              <a:gd name="connsiteX3" fmla="*/ 0 w 3346198"/>
              <a:gd name="connsiteY3" fmla="*/ 0 h 1766374"/>
              <a:gd name="connsiteX0" fmla="*/ 0 w 3346198"/>
              <a:gd name="connsiteY0" fmla="*/ 0 h 1780662"/>
              <a:gd name="connsiteX1" fmla="*/ 3346198 w 3346198"/>
              <a:gd name="connsiteY1" fmla="*/ 3282 h 1780662"/>
              <a:gd name="connsiteX2" fmla="*/ 3091490 w 3346198"/>
              <a:gd name="connsiteY2" fmla="*/ 1780662 h 1780662"/>
              <a:gd name="connsiteX3" fmla="*/ 0 w 3346198"/>
              <a:gd name="connsiteY3" fmla="*/ 0 h 1780662"/>
              <a:gd name="connsiteX0" fmla="*/ 0 w 3346198"/>
              <a:gd name="connsiteY0" fmla="*/ 0 h 1804474"/>
              <a:gd name="connsiteX1" fmla="*/ 3346198 w 3346198"/>
              <a:gd name="connsiteY1" fmla="*/ 3282 h 1804474"/>
              <a:gd name="connsiteX2" fmla="*/ 3115303 w 3346198"/>
              <a:gd name="connsiteY2" fmla="*/ 1804474 h 1804474"/>
              <a:gd name="connsiteX3" fmla="*/ 0 w 3346198"/>
              <a:gd name="connsiteY3" fmla="*/ 0 h 1804474"/>
              <a:gd name="connsiteX0" fmla="*/ 0 w 3346198"/>
              <a:gd name="connsiteY0" fmla="*/ 10366 h 1801192"/>
              <a:gd name="connsiteX1" fmla="*/ 3346198 w 3346198"/>
              <a:gd name="connsiteY1" fmla="*/ 0 h 1801192"/>
              <a:gd name="connsiteX2" fmla="*/ 3115303 w 3346198"/>
              <a:gd name="connsiteY2" fmla="*/ 1801192 h 1801192"/>
              <a:gd name="connsiteX3" fmla="*/ 0 w 3346198"/>
              <a:gd name="connsiteY3" fmla="*/ 10366 h 1801192"/>
              <a:gd name="connsiteX0" fmla="*/ 0 w 3366670"/>
              <a:gd name="connsiteY0" fmla="*/ 0 h 1818122"/>
              <a:gd name="connsiteX1" fmla="*/ 3366670 w 3366670"/>
              <a:gd name="connsiteY1" fmla="*/ 16930 h 1818122"/>
              <a:gd name="connsiteX2" fmla="*/ 3135775 w 3366670"/>
              <a:gd name="connsiteY2" fmla="*/ 1818122 h 1818122"/>
              <a:gd name="connsiteX3" fmla="*/ 0 w 3366670"/>
              <a:gd name="connsiteY3" fmla="*/ 0 h 1818122"/>
              <a:gd name="connsiteX0" fmla="*/ 0 w 3363258"/>
              <a:gd name="connsiteY0" fmla="*/ 0 h 1811298"/>
              <a:gd name="connsiteX1" fmla="*/ 3363258 w 3363258"/>
              <a:gd name="connsiteY1" fmla="*/ 10106 h 1811298"/>
              <a:gd name="connsiteX2" fmla="*/ 3132363 w 3363258"/>
              <a:gd name="connsiteY2" fmla="*/ 1811298 h 1811298"/>
              <a:gd name="connsiteX3" fmla="*/ 0 w 3363258"/>
              <a:gd name="connsiteY3" fmla="*/ 0 h 1811298"/>
              <a:gd name="connsiteX0" fmla="*/ 0 w 3363258"/>
              <a:gd name="connsiteY0" fmla="*/ 0 h 1807886"/>
              <a:gd name="connsiteX1" fmla="*/ 3363258 w 3363258"/>
              <a:gd name="connsiteY1" fmla="*/ 6694 h 1807886"/>
              <a:gd name="connsiteX2" fmla="*/ 3132363 w 3363258"/>
              <a:gd name="connsiteY2" fmla="*/ 1807886 h 1807886"/>
              <a:gd name="connsiteX3" fmla="*/ 0 w 3363258"/>
              <a:gd name="connsiteY3" fmla="*/ 0 h 1807886"/>
              <a:gd name="connsiteX0" fmla="*/ 0 w 3363258"/>
              <a:gd name="connsiteY0" fmla="*/ 3542 h 1801192"/>
              <a:gd name="connsiteX1" fmla="*/ 3363258 w 3363258"/>
              <a:gd name="connsiteY1" fmla="*/ 0 h 1801192"/>
              <a:gd name="connsiteX2" fmla="*/ 3132363 w 3363258"/>
              <a:gd name="connsiteY2" fmla="*/ 1801192 h 1801192"/>
              <a:gd name="connsiteX3" fmla="*/ 0 w 3363258"/>
              <a:gd name="connsiteY3" fmla="*/ 3542 h 1801192"/>
              <a:gd name="connsiteX0" fmla="*/ 0 w 3366670"/>
              <a:gd name="connsiteY0" fmla="*/ 0 h 1804474"/>
              <a:gd name="connsiteX1" fmla="*/ 3366670 w 3366670"/>
              <a:gd name="connsiteY1" fmla="*/ 3282 h 1804474"/>
              <a:gd name="connsiteX2" fmla="*/ 3135775 w 3366670"/>
              <a:gd name="connsiteY2" fmla="*/ 1804474 h 1804474"/>
              <a:gd name="connsiteX3" fmla="*/ 0 w 3366670"/>
              <a:gd name="connsiteY3" fmla="*/ 0 h 1804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66670" h="1804474">
                <a:moveTo>
                  <a:pt x="0" y="0"/>
                </a:moveTo>
                <a:lnTo>
                  <a:pt x="3366670" y="3282"/>
                </a:lnTo>
                <a:lnTo>
                  <a:pt x="3135775" y="180447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1" name="Freeform 10"/>
          <p:cNvSpPr/>
          <p:nvPr userDrawn="1"/>
        </p:nvSpPr>
        <p:spPr>
          <a:xfrm>
            <a:off x="3111696" y="1778988"/>
            <a:ext cx="3269644" cy="3085357"/>
          </a:xfrm>
          <a:custGeom>
            <a:avLst/>
            <a:gdLst>
              <a:gd name="connsiteX0" fmla="*/ 0 w 3237186"/>
              <a:gd name="connsiteY0" fmla="*/ 0 h 3095296"/>
              <a:gd name="connsiteX1" fmla="*/ 441434 w 3237186"/>
              <a:gd name="connsiteY1" fmla="*/ 3095296 h 3095296"/>
              <a:gd name="connsiteX2" fmla="*/ 3237186 w 3237186"/>
              <a:gd name="connsiteY2" fmla="*/ 1255986 h 3095296"/>
              <a:gd name="connsiteX3" fmla="*/ 0 w 3237186"/>
              <a:gd name="connsiteY3" fmla="*/ 0 h 3095296"/>
              <a:gd name="connsiteX0" fmla="*/ 0 w 3237186"/>
              <a:gd name="connsiteY0" fmla="*/ 0 h 3109584"/>
              <a:gd name="connsiteX1" fmla="*/ 441434 w 3237186"/>
              <a:gd name="connsiteY1" fmla="*/ 3109584 h 3109584"/>
              <a:gd name="connsiteX2" fmla="*/ 3237186 w 3237186"/>
              <a:gd name="connsiteY2" fmla="*/ 1270274 h 3109584"/>
              <a:gd name="connsiteX3" fmla="*/ 0 w 3237186"/>
              <a:gd name="connsiteY3" fmla="*/ 0 h 3109584"/>
              <a:gd name="connsiteX0" fmla="*/ 0 w 3237186"/>
              <a:gd name="connsiteY0" fmla="*/ 0 h 3085764"/>
              <a:gd name="connsiteX1" fmla="*/ 441434 w 3237186"/>
              <a:gd name="connsiteY1" fmla="*/ 3085764 h 3085764"/>
              <a:gd name="connsiteX2" fmla="*/ 3237186 w 3237186"/>
              <a:gd name="connsiteY2" fmla="*/ 1246454 h 3085764"/>
              <a:gd name="connsiteX3" fmla="*/ 0 w 3237186"/>
              <a:gd name="connsiteY3" fmla="*/ 0 h 3085764"/>
              <a:gd name="connsiteX0" fmla="*/ 0 w 3255520"/>
              <a:gd name="connsiteY0" fmla="*/ 0 h 3085764"/>
              <a:gd name="connsiteX1" fmla="*/ 441434 w 3255520"/>
              <a:gd name="connsiteY1" fmla="*/ 3085764 h 3085764"/>
              <a:gd name="connsiteX2" fmla="*/ 3255520 w 3255520"/>
              <a:gd name="connsiteY2" fmla="*/ 1239108 h 3085764"/>
              <a:gd name="connsiteX3" fmla="*/ 0 w 3255520"/>
              <a:gd name="connsiteY3" fmla="*/ 0 h 3085764"/>
              <a:gd name="connsiteX0" fmla="*/ 0 w 3255520"/>
              <a:gd name="connsiteY0" fmla="*/ 0 h 3088940"/>
              <a:gd name="connsiteX1" fmla="*/ 460457 w 3255520"/>
              <a:gd name="connsiteY1" fmla="*/ 3088940 h 3088940"/>
              <a:gd name="connsiteX2" fmla="*/ 3255520 w 3255520"/>
              <a:gd name="connsiteY2" fmla="*/ 1239108 h 3088940"/>
              <a:gd name="connsiteX3" fmla="*/ 0 w 3255520"/>
              <a:gd name="connsiteY3" fmla="*/ 0 h 3088940"/>
              <a:gd name="connsiteX0" fmla="*/ 0 w 3262334"/>
              <a:gd name="connsiteY0" fmla="*/ 0 h 3088940"/>
              <a:gd name="connsiteX1" fmla="*/ 460457 w 3262334"/>
              <a:gd name="connsiteY1" fmla="*/ 3088940 h 3088940"/>
              <a:gd name="connsiteX2" fmla="*/ 3262334 w 3262334"/>
              <a:gd name="connsiteY2" fmla="*/ 1239108 h 3088940"/>
              <a:gd name="connsiteX3" fmla="*/ 0 w 3262334"/>
              <a:gd name="connsiteY3" fmla="*/ 0 h 3088940"/>
              <a:gd name="connsiteX0" fmla="*/ 0 w 3264905"/>
              <a:gd name="connsiteY0" fmla="*/ 0 h 3086363"/>
              <a:gd name="connsiteX1" fmla="*/ 463028 w 3264905"/>
              <a:gd name="connsiteY1" fmla="*/ 3086363 h 3086363"/>
              <a:gd name="connsiteX2" fmla="*/ 3264905 w 3264905"/>
              <a:gd name="connsiteY2" fmla="*/ 1236531 h 3086363"/>
              <a:gd name="connsiteX3" fmla="*/ 0 w 3264905"/>
              <a:gd name="connsiteY3" fmla="*/ 0 h 3086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64905" h="3086363">
                <a:moveTo>
                  <a:pt x="0" y="0"/>
                </a:moveTo>
                <a:lnTo>
                  <a:pt x="463028" y="3086363"/>
                </a:lnTo>
                <a:lnTo>
                  <a:pt x="3264905" y="1236531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2" name="Freeform 11"/>
          <p:cNvSpPr/>
          <p:nvPr userDrawn="1"/>
        </p:nvSpPr>
        <p:spPr>
          <a:xfrm>
            <a:off x="7713406" y="2411362"/>
            <a:ext cx="1983659" cy="4457360"/>
          </a:xfrm>
          <a:custGeom>
            <a:avLst/>
            <a:gdLst>
              <a:gd name="connsiteX0" fmla="*/ 1983659 w 1983659"/>
              <a:gd name="connsiteY0" fmla="*/ 0 h 4431891"/>
              <a:gd name="connsiteX1" fmla="*/ 1032388 w 1983659"/>
              <a:gd name="connsiteY1" fmla="*/ 4431891 h 4431891"/>
              <a:gd name="connsiteX2" fmla="*/ 0 w 1983659"/>
              <a:gd name="connsiteY2" fmla="*/ 2286000 h 4431891"/>
              <a:gd name="connsiteX3" fmla="*/ 1983659 w 1983659"/>
              <a:gd name="connsiteY3" fmla="*/ 0 h 4431891"/>
              <a:gd name="connsiteX0" fmla="*/ 1983659 w 1983659"/>
              <a:gd name="connsiteY0" fmla="*/ 0 h 4439842"/>
              <a:gd name="connsiteX1" fmla="*/ 1000583 w 1983659"/>
              <a:gd name="connsiteY1" fmla="*/ 4439842 h 4439842"/>
              <a:gd name="connsiteX2" fmla="*/ 0 w 1983659"/>
              <a:gd name="connsiteY2" fmla="*/ 2286000 h 4439842"/>
              <a:gd name="connsiteX3" fmla="*/ 1983659 w 1983659"/>
              <a:gd name="connsiteY3" fmla="*/ 0 h 4439842"/>
              <a:gd name="connsiteX0" fmla="*/ 1983659 w 1983659"/>
              <a:gd name="connsiteY0" fmla="*/ 0 h 4447794"/>
              <a:gd name="connsiteX1" fmla="*/ 1000583 w 1983659"/>
              <a:gd name="connsiteY1" fmla="*/ 4447794 h 4447794"/>
              <a:gd name="connsiteX2" fmla="*/ 0 w 1983659"/>
              <a:gd name="connsiteY2" fmla="*/ 2286000 h 4447794"/>
              <a:gd name="connsiteX3" fmla="*/ 1983659 w 1983659"/>
              <a:gd name="connsiteY3" fmla="*/ 0 h 4447794"/>
              <a:gd name="connsiteX0" fmla="*/ 1983659 w 1983659"/>
              <a:gd name="connsiteY0" fmla="*/ 0 h 4471648"/>
              <a:gd name="connsiteX1" fmla="*/ 1000583 w 1983659"/>
              <a:gd name="connsiteY1" fmla="*/ 4471648 h 4471648"/>
              <a:gd name="connsiteX2" fmla="*/ 0 w 1983659"/>
              <a:gd name="connsiteY2" fmla="*/ 2286000 h 4471648"/>
              <a:gd name="connsiteX3" fmla="*/ 1983659 w 1983659"/>
              <a:gd name="connsiteY3" fmla="*/ 0 h 4471648"/>
              <a:gd name="connsiteX0" fmla="*/ 1983659 w 1983659"/>
              <a:gd name="connsiteY0" fmla="*/ 0 h 4457360"/>
              <a:gd name="connsiteX1" fmla="*/ 995820 w 1983659"/>
              <a:gd name="connsiteY1" fmla="*/ 4457360 h 4457360"/>
              <a:gd name="connsiteX2" fmla="*/ 0 w 1983659"/>
              <a:gd name="connsiteY2" fmla="*/ 2286000 h 4457360"/>
              <a:gd name="connsiteX3" fmla="*/ 1983659 w 1983659"/>
              <a:gd name="connsiteY3" fmla="*/ 0 h 4457360"/>
              <a:gd name="connsiteX0" fmla="*/ 1983659 w 1983659"/>
              <a:gd name="connsiteY0" fmla="*/ 0 h 4457360"/>
              <a:gd name="connsiteX1" fmla="*/ 991058 w 1983659"/>
              <a:gd name="connsiteY1" fmla="*/ 4457360 h 4457360"/>
              <a:gd name="connsiteX2" fmla="*/ 0 w 1983659"/>
              <a:gd name="connsiteY2" fmla="*/ 2286000 h 4457360"/>
              <a:gd name="connsiteX3" fmla="*/ 1983659 w 1983659"/>
              <a:gd name="connsiteY3" fmla="*/ 0 h 445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3659" h="4457360">
                <a:moveTo>
                  <a:pt x="1983659" y="0"/>
                </a:moveTo>
                <a:lnTo>
                  <a:pt x="991058" y="4457360"/>
                </a:lnTo>
                <a:lnTo>
                  <a:pt x="0" y="2286000"/>
                </a:lnTo>
                <a:lnTo>
                  <a:pt x="1983659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73000">
                <a:schemeClr val="accent2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3" name="Freeform 12"/>
          <p:cNvSpPr/>
          <p:nvPr userDrawn="1"/>
        </p:nvSpPr>
        <p:spPr>
          <a:xfrm>
            <a:off x="6341757" y="1209676"/>
            <a:ext cx="3359456" cy="1822946"/>
          </a:xfrm>
          <a:custGeom>
            <a:avLst/>
            <a:gdLst>
              <a:gd name="connsiteX0" fmla="*/ 1271587 w 3305175"/>
              <a:gd name="connsiteY0" fmla="*/ 0 h 1809750"/>
              <a:gd name="connsiteX1" fmla="*/ 3305175 w 3305175"/>
              <a:gd name="connsiteY1" fmla="*/ 1233487 h 1809750"/>
              <a:gd name="connsiteX2" fmla="*/ 0 w 3305175"/>
              <a:gd name="connsiteY2" fmla="*/ 1809750 h 1809750"/>
              <a:gd name="connsiteX3" fmla="*/ 1271587 w 3305175"/>
              <a:gd name="connsiteY3" fmla="*/ 0 h 1809750"/>
              <a:gd name="connsiteX0" fmla="*/ 1281112 w 3314700"/>
              <a:gd name="connsiteY0" fmla="*/ 0 h 1828800"/>
              <a:gd name="connsiteX1" fmla="*/ 3314700 w 3314700"/>
              <a:gd name="connsiteY1" fmla="*/ 1233487 h 1828800"/>
              <a:gd name="connsiteX2" fmla="*/ 0 w 3314700"/>
              <a:gd name="connsiteY2" fmla="*/ 1828800 h 1828800"/>
              <a:gd name="connsiteX3" fmla="*/ 1281112 w 3314700"/>
              <a:gd name="connsiteY3" fmla="*/ 0 h 1828800"/>
              <a:gd name="connsiteX0" fmla="*/ 1300162 w 3333750"/>
              <a:gd name="connsiteY0" fmla="*/ 0 h 1824037"/>
              <a:gd name="connsiteX1" fmla="*/ 3333750 w 3333750"/>
              <a:gd name="connsiteY1" fmla="*/ 1233487 h 1824037"/>
              <a:gd name="connsiteX2" fmla="*/ 0 w 3333750"/>
              <a:gd name="connsiteY2" fmla="*/ 1824037 h 1824037"/>
              <a:gd name="connsiteX3" fmla="*/ 1300162 w 3333750"/>
              <a:gd name="connsiteY3" fmla="*/ 0 h 1824037"/>
              <a:gd name="connsiteX0" fmla="*/ 1314449 w 3333750"/>
              <a:gd name="connsiteY0" fmla="*/ 0 h 1381124"/>
              <a:gd name="connsiteX1" fmla="*/ 3333750 w 3333750"/>
              <a:gd name="connsiteY1" fmla="*/ 790574 h 1381124"/>
              <a:gd name="connsiteX2" fmla="*/ 0 w 3333750"/>
              <a:gd name="connsiteY2" fmla="*/ 1381124 h 1381124"/>
              <a:gd name="connsiteX3" fmla="*/ 1314449 w 3333750"/>
              <a:gd name="connsiteY3" fmla="*/ 0 h 1381124"/>
              <a:gd name="connsiteX0" fmla="*/ 1300162 w 3333750"/>
              <a:gd name="connsiteY0" fmla="*/ 0 h 1819274"/>
              <a:gd name="connsiteX1" fmla="*/ 3333750 w 3333750"/>
              <a:gd name="connsiteY1" fmla="*/ 1228724 h 1819274"/>
              <a:gd name="connsiteX2" fmla="*/ 0 w 3333750"/>
              <a:gd name="connsiteY2" fmla="*/ 1819274 h 1819274"/>
              <a:gd name="connsiteX3" fmla="*/ 1300162 w 3333750"/>
              <a:gd name="connsiteY3" fmla="*/ 0 h 1819274"/>
              <a:gd name="connsiteX0" fmla="*/ 1300162 w 3333750"/>
              <a:gd name="connsiteY0" fmla="*/ 0 h 1819274"/>
              <a:gd name="connsiteX1" fmla="*/ 3333750 w 3333750"/>
              <a:gd name="connsiteY1" fmla="*/ 1228724 h 1819274"/>
              <a:gd name="connsiteX2" fmla="*/ 0 w 3333750"/>
              <a:gd name="connsiteY2" fmla="*/ 1819274 h 1819274"/>
              <a:gd name="connsiteX3" fmla="*/ 1300162 w 3333750"/>
              <a:gd name="connsiteY3" fmla="*/ 0 h 1819274"/>
              <a:gd name="connsiteX0" fmla="*/ 1325868 w 3359456"/>
              <a:gd name="connsiteY0" fmla="*/ 0 h 1822946"/>
              <a:gd name="connsiteX1" fmla="*/ 3359456 w 3359456"/>
              <a:gd name="connsiteY1" fmla="*/ 1228724 h 1822946"/>
              <a:gd name="connsiteX2" fmla="*/ 0 w 3359456"/>
              <a:gd name="connsiteY2" fmla="*/ 1822946 h 1822946"/>
              <a:gd name="connsiteX3" fmla="*/ 1325868 w 3359456"/>
              <a:gd name="connsiteY3" fmla="*/ 0 h 1822946"/>
              <a:gd name="connsiteX0" fmla="*/ 1325868 w 3359456"/>
              <a:gd name="connsiteY0" fmla="*/ 0 h 1822946"/>
              <a:gd name="connsiteX1" fmla="*/ 3359456 w 3359456"/>
              <a:gd name="connsiteY1" fmla="*/ 1228724 h 1822946"/>
              <a:gd name="connsiteX2" fmla="*/ 0 w 3359456"/>
              <a:gd name="connsiteY2" fmla="*/ 1822946 h 1822946"/>
              <a:gd name="connsiteX3" fmla="*/ 1325868 w 3359456"/>
              <a:gd name="connsiteY3" fmla="*/ 0 h 1822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59456" h="1822946">
                <a:moveTo>
                  <a:pt x="1325868" y="0"/>
                </a:moveTo>
                <a:lnTo>
                  <a:pt x="3359456" y="1228724"/>
                </a:lnTo>
                <a:lnTo>
                  <a:pt x="0" y="1822946"/>
                </a:lnTo>
                <a:lnTo>
                  <a:pt x="1325868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6000">
                <a:schemeClr val="accent2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4" name="Freeform 13"/>
          <p:cNvSpPr/>
          <p:nvPr userDrawn="1"/>
        </p:nvSpPr>
        <p:spPr>
          <a:xfrm>
            <a:off x="-227" y="-2"/>
            <a:ext cx="1040749" cy="6862615"/>
          </a:xfrm>
          <a:custGeom>
            <a:avLst/>
            <a:gdLst>
              <a:gd name="connsiteX0" fmla="*/ 0 w 1076445"/>
              <a:gd name="connsiteY0" fmla="*/ 0 h 6817489"/>
              <a:gd name="connsiteX1" fmla="*/ 1076445 w 1076445"/>
              <a:gd name="connsiteY1" fmla="*/ 1805651 h 6817489"/>
              <a:gd name="connsiteX2" fmla="*/ 11574 w 1076445"/>
              <a:gd name="connsiteY2" fmla="*/ 6817489 h 6817489"/>
              <a:gd name="connsiteX3" fmla="*/ 0 w 1076445"/>
              <a:gd name="connsiteY3" fmla="*/ 0 h 6817489"/>
              <a:gd name="connsiteX0" fmla="*/ 0 w 873245"/>
              <a:gd name="connsiteY0" fmla="*/ 0 h 6817489"/>
              <a:gd name="connsiteX1" fmla="*/ 873245 w 873245"/>
              <a:gd name="connsiteY1" fmla="*/ 1764376 h 6817489"/>
              <a:gd name="connsiteX2" fmla="*/ 11574 w 873245"/>
              <a:gd name="connsiteY2" fmla="*/ 6817489 h 6817489"/>
              <a:gd name="connsiteX3" fmla="*/ 0 w 873245"/>
              <a:gd name="connsiteY3" fmla="*/ 0 h 6817489"/>
              <a:gd name="connsiteX0" fmla="*/ 0 w 1047870"/>
              <a:gd name="connsiteY0" fmla="*/ 0 h 6817489"/>
              <a:gd name="connsiteX1" fmla="*/ 1047870 w 1047870"/>
              <a:gd name="connsiteY1" fmla="*/ 1770726 h 6817489"/>
              <a:gd name="connsiteX2" fmla="*/ 11574 w 1047870"/>
              <a:gd name="connsiteY2" fmla="*/ 6817489 h 6817489"/>
              <a:gd name="connsiteX3" fmla="*/ 0 w 1047870"/>
              <a:gd name="connsiteY3" fmla="*/ 0 h 6817489"/>
              <a:gd name="connsiteX0" fmla="*/ 0 w 698013"/>
              <a:gd name="connsiteY0" fmla="*/ 0 h 6817489"/>
              <a:gd name="connsiteX1" fmla="*/ 698013 w 698013"/>
              <a:gd name="connsiteY1" fmla="*/ 2181752 h 6817489"/>
              <a:gd name="connsiteX2" fmla="*/ 11574 w 698013"/>
              <a:gd name="connsiteY2" fmla="*/ 6817489 h 6817489"/>
              <a:gd name="connsiteX3" fmla="*/ 0 w 698013"/>
              <a:gd name="connsiteY3" fmla="*/ 0 h 6817489"/>
              <a:gd name="connsiteX0" fmla="*/ 0 w 1039919"/>
              <a:gd name="connsiteY0" fmla="*/ 0 h 6817489"/>
              <a:gd name="connsiteX1" fmla="*/ 1039919 w 1039919"/>
              <a:gd name="connsiteY1" fmla="*/ 1762823 h 6817489"/>
              <a:gd name="connsiteX2" fmla="*/ 11574 w 1039919"/>
              <a:gd name="connsiteY2" fmla="*/ 6817489 h 6817489"/>
              <a:gd name="connsiteX3" fmla="*/ 0 w 1039919"/>
              <a:gd name="connsiteY3" fmla="*/ 0 h 6817489"/>
              <a:gd name="connsiteX0" fmla="*/ 0 w 823788"/>
              <a:gd name="connsiteY0" fmla="*/ 0 h 6817489"/>
              <a:gd name="connsiteX1" fmla="*/ 823788 w 823788"/>
              <a:gd name="connsiteY1" fmla="*/ 1820668 h 6817489"/>
              <a:gd name="connsiteX2" fmla="*/ 11574 w 823788"/>
              <a:gd name="connsiteY2" fmla="*/ 6817489 h 6817489"/>
              <a:gd name="connsiteX3" fmla="*/ 0 w 823788"/>
              <a:gd name="connsiteY3" fmla="*/ 0 h 6817489"/>
              <a:gd name="connsiteX0" fmla="*/ 0 w 1035762"/>
              <a:gd name="connsiteY0" fmla="*/ 0 h 6817489"/>
              <a:gd name="connsiteX1" fmla="*/ 1035762 w 1035762"/>
              <a:gd name="connsiteY1" fmla="*/ 1766955 h 6817489"/>
              <a:gd name="connsiteX2" fmla="*/ 11574 w 1035762"/>
              <a:gd name="connsiteY2" fmla="*/ 6817489 h 6817489"/>
              <a:gd name="connsiteX3" fmla="*/ 0 w 1035762"/>
              <a:gd name="connsiteY3" fmla="*/ 0 h 6817489"/>
              <a:gd name="connsiteX0" fmla="*/ 0 w 1040524"/>
              <a:gd name="connsiteY0" fmla="*/ 0 h 6817489"/>
              <a:gd name="connsiteX1" fmla="*/ 1040524 w 1040524"/>
              <a:gd name="connsiteY1" fmla="*/ 1762221 h 6817489"/>
              <a:gd name="connsiteX2" fmla="*/ 11574 w 1040524"/>
              <a:gd name="connsiteY2" fmla="*/ 6817489 h 6817489"/>
              <a:gd name="connsiteX3" fmla="*/ 0 w 1040524"/>
              <a:gd name="connsiteY3" fmla="*/ 0 h 6817489"/>
              <a:gd name="connsiteX0" fmla="*/ 225 w 1040749"/>
              <a:gd name="connsiteY0" fmla="*/ 0 h 6858541"/>
              <a:gd name="connsiteX1" fmla="*/ 1040749 w 1040749"/>
              <a:gd name="connsiteY1" fmla="*/ 1762221 h 6858541"/>
              <a:gd name="connsiteX2" fmla="*/ 0 w 1040749"/>
              <a:gd name="connsiteY2" fmla="*/ 6858541 h 6858541"/>
              <a:gd name="connsiteX3" fmla="*/ 225 w 1040749"/>
              <a:gd name="connsiteY3" fmla="*/ 0 h 6858541"/>
              <a:gd name="connsiteX0" fmla="*/ 225 w 1040749"/>
              <a:gd name="connsiteY0" fmla="*/ 0 h 6835083"/>
              <a:gd name="connsiteX1" fmla="*/ 1040749 w 1040749"/>
              <a:gd name="connsiteY1" fmla="*/ 1762221 h 6835083"/>
              <a:gd name="connsiteX2" fmla="*/ 0 w 1040749"/>
              <a:gd name="connsiteY2" fmla="*/ 6835083 h 6835083"/>
              <a:gd name="connsiteX3" fmla="*/ 225 w 1040749"/>
              <a:gd name="connsiteY3" fmla="*/ 0 h 6835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0749" h="6835083">
                <a:moveTo>
                  <a:pt x="225" y="0"/>
                </a:moveTo>
                <a:lnTo>
                  <a:pt x="1040749" y="1762221"/>
                </a:lnTo>
                <a:lnTo>
                  <a:pt x="0" y="6835083"/>
                </a:lnTo>
                <a:lnTo>
                  <a:pt x="225" y="0"/>
                </a:lnTo>
                <a:close/>
              </a:path>
            </a:pathLst>
          </a:custGeom>
          <a:gradFill>
            <a:gsLst>
              <a:gs pos="19000">
                <a:schemeClr val="accent2"/>
              </a:gs>
              <a:gs pos="94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5" name="Freeform 14"/>
          <p:cNvSpPr/>
          <p:nvPr userDrawn="1"/>
        </p:nvSpPr>
        <p:spPr>
          <a:xfrm>
            <a:off x="3119436" y="-1"/>
            <a:ext cx="3260163" cy="3022037"/>
          </a:xfrm>
          <a:custGeom>
            <a:avLst/>
            <a:gdLst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185737 w 3228975"/>
              <a:gd name="connsiteY3" fmla="*/ 0 h 3024188"/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1976437 w 3228975"/>
              <a:gd name="connsiteY3" fmla="*/ 1776413 h 3024188"/>
              <a:gd name="connsiteX4" fmla="*/ 185737 w 3228975"/>
              <a:gd name="connsiteY4" fmla="*/ 0 h 3024188"/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2733674 w 3228975"/>
              <a:gd name="connsiteY3" fmla="*/ 1281113 h 3024188"/>
              <a:gd name="connsiteX4" fmla="*/ 185737 w 3228975"/>
              <a:gd name="connsiteY4" fmla="*/ 0 h 3024188"/>
              <a:gd name="connsiteX0" fmla="*/ 185737 w 3181350"/>
              <a:gd name="connsiteY0" fmla="*/ 0 h 2481263"/>
              <a:gd name="connsiteX1" fmla="*/ 0 w 3181350"/>
              <a:gd name="connsiteY1" fmla="*/ 1771650 h 2481263"/>
              <a:gd name="connsiteX2" fmla="*/ 3181350 w 3181350"/>
              <a:gd name="connsiteY2" fmla="*/ 2481263 h 2481263"/>
              <a:gd name="connsiteX3" fmla="*/ 2733674 w 3181350"/>
              <a:gd name="connsiteY3" fmla="*/ 1281113 h 2481263"/>
              <a:gd name="connsiteX4" fmla="*/ 185737 w 3181350"/>
              <a:gd name="connsiteY4" fmla="*/ 0 h 24812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2733674 w 3214688"/>
              <a:gd name="connsiteY3" fmla="*/ 1281113 h 3014663"/>
              <a:gd name="connsiteX4" fmla="*/ 185737 w 3214688"/>
              <a:gd name="connsiteY4" fmla="*/ 0 h 30146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2733674 w 3214688"/>
              <a:gd name="connsiteY3" fmla="*/ 1285876 h 3014663"/>
              <a:gd name="connsiteX4" fmla="*/ 185737 w 3214688"/>
              <a:gd name="connsiteY4" fmla="*/ 0 h 30146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185737 w 3214688"/>
              <a:gd name="connsiteY3" fmla="*/ 0 h 3014663"/>
              <a:gd name="connsiteX0" fmla="*/ 190500 w 3219451"/>
              <a:gd name="connsiteY0" fmla="*/ 0 h 3014663"/>
              <a:gd name="connsiteX1" fmla="*/ 0 w 3219451"/>
              <a:gd name="connsiteY1" fmla="*/ 1781175 h 3014663"/>
              <a:gd name="connsiteX2" fmla="*/ 3219451 w 3219451"/>
              <a:gd name="connsiteY2" fmla="*/ 3014663 h 3014663"/>
              <a:gd name="connsiteX3" fmla="*/ 190500 w 3219451"/>
              <a:gd name="connsiteY3" fmla="*/ 0 h 3014663"/>
              <a:gd name="connsiteX0" fmla="*/ 190500 w 3219451"/>
              <a:gd name="connsiteY0" fmla="*/ 0 h 3014663"/>
              <a:gd name="connsiteX1" fmla="*/ 0 w 3219451"/>
              <a:gd name="connsiteY1" fmla="*/ 1766887 h 3014663"/>
              <a:gd name="connsiteX2" fmla="*/ 3219451 w 3219451"/>
              <a:gd name="connsiteY2" fmla="*/ 3014663 h 3014663"/>
              <a:gd name="connsiteX3" fmla="*/ 190500 w 3219451"/>
              <a:gd name="connsiteY3" fmla="*/ 0 h 3014663"/>
              <a:gd name="connsiteX0" fmla="*/ 223838 w 3252789"/>
              <a:gd name="connsiteY0" fmla="*/ 0 h 3014663"/>
              <a:gd name="connsiteX1" fmla="*/ 0 w 3252789"/>
              <a:gd name="connsiteY1" fmla="*/ 1771650 h 3014663"/>
              <a:gd name="connsiteX2" fmla="*/ 3252789 w 3252789"/>
              <a:gd name="connsiteY2" fmla="*/ 3014663 h 3014663"/>
              <a:gd name="connsiteX3" fmla="*/ 223838 w 3252789"/>
              <a:gd name="connsiteY3" fmla="*/ 0 h 3014663"/>
              <a:gd name="connsiteX0" fmla="*/ 223838 w 3252789"/>
              <a:gd name="connsiteY0" fmla="*/ 0 h 3014663"/>
              <a:gd name="connsiteX1" fmla="*/ 0 w 3252789"/>
              <a:gd name="connsiteY1" fmla="*/ 1790700 h 3014663"/>
              <a:gd name="connsiteX2" fmla="*/ 3252789 w 3252789"/>
              <a:gd name="connsiteY2" fmla="*/ 3014663 h 3014663"/>
              <a:gd name="connsiteX3" fmla="*/ 223838 w 3252789"/>
              <a:gd name="connsiteY3" fmla="*/ 0 h 3014663"/>
              <a:gd name="connsiteX0" fmla="*/ 223838 w 3252789"/>
              <a:gd name="connsiteY0" fmla="*/ 0 h 3022037"/>
              <a:gd name="connsiteX1" fmla="*/ 0 w 3252789"/>
              <a:gd name="connsiteY1" fmla="*/ 1790700 h 3022037"/>
              <a:gd name="connsiteX2" fmla="*/ 3252789 w 3252789"/>
              <a:gd name="connsiteY2" fmla="*/ 3022037 h 3022037"/>
              <a:gd name="connsiteX3" fmla="*/ 223838 w 3252789"/>
              <a:gd name="connsiteY3" fmla="*/ 0 h 3022037"/>
              <a:gd name="connsiteX0" fmla="*/ 223838 w 3260163"/>
              <a:gd name="connsiteY0" fmla="*/ 0 h 3014663"/>
              <a:gd name="connsiteX1" fmla="*/ 0 w 3260163"/>
              <a:gd name="connsiteY1" fmla="*/ 1790700 h 3014663"/>
              <a:gd name="connsiteX2" fmla="*/ 3260163 w 3260163"/>
              <a:gd name="connsiteY2" fmla="*/ 3014663 h 3014663"/>
              <a:gd name="connsiteX3" fmla="*/ 223838 w 3260163"/>
              <a:gd name="connsiteY3" fmla="*/ 0 h 3014663"/>
              <a:gd name="connsiteX0" fmla="*/ 223838 w 3260163"/>
              <a:gd name="connsiteY0" fmla="*/ 0 h 3022037"/>
              <a:gd name="connsiteX1" fmla="*/ 0 w 3260163"/>
              <a:gd name="connsiteY1" fmla="*/ 1790700 h 3022037"/>
              <a:gd name="connsiteX2" fmla="*/ 3260163 w 3260163"/>
              <a:gd name="connsiteY2" fmla="*/ 3022037 h 3022037"/>
              <a:gd name="connsiteX3" fmla="*/ 223838 w 3260163"/>
              <a:gd name="connsiteY3" fmla="*/ 0 h 302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60163" h="3022037">
                <a:moveTo>
                  <a:pt x="223838" y="0"/>
                </a:moveTo>
                <a:lnTo>
                  <a:pt x="0" y="1790700"/>
                </a:lnTo>
                <a:lnTo>
                  <a:pt x="3260163" y="3022037"/>
                </a:lnTo>
                <a:lnTo>
                  <a:pt x="223838" y="0"/>
                </a:lnTo>
                <a:close/>
              </a:path>
            </a:pathLst>
          </a:custGeom>
          <a:gradFill>
            <a:gsLst>
              <a:gs pos="58000">
                <a:schemeClr val="accent2"/>
              </a:gs>
              <a:gs pos="0">
                <a:schemeClr val="accent1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6" name="Freeform 15"/>
          <p:cNvSpPr/>
          <p:nvPr userDrawn="1"/>
        </p:nvSpPr>
        <p:spPr>
          <a:xfrm>
            <a:off x="3343275" y="0"/>
            <a:ext cx="4337998" cy="3019426"/>
          </a:xfrm>
          <a:custGeom>
            <a:avLst/>
            <a:gdLst>
              <a:gd name="connsiteX0" fmla="*/ 0 w 4324350"/>
              <a:gd name="connsiteY0" fmla="*/ 0 h 3019426"/>
              <a:gd name="connsiteX1" fmla="*/ 4324350 w 4324350"/>
              <a:gd name="connsiteY1" fmla="*/ 1214438 h 3019426"/>
              <a:gd name="connsiteX2" fmla="*/ 3028950 w 4324350"/>
              <a:gd name="connsiteY2" fmla="*/ 3019426 h 3019426"/>
              <a:gd name="connsiteX3" fmla="*/ 0 w 4324350"/>
              <a:gd name="connsiteY3" fmla="*/ 0 h 3019426"/>
              <a:gd name="connsiteX0" fmla="*/ 0 w 4324350"/>
              <a:gd name="connsiteY0" fmla="*/ 0 h 3019426"/>
              <a:gd name="connsiteX1" fmla="*/ 4324350 w 4324350"/>
              <a:gd name="connsiteY1" fmla="*/ 1214438 h 3019426"/>
              <a:gd name="connsiteX2" fmla="*/ 3028950 w 4324350"/>
              <a:gd name="connsiteY2" fmla="*/ 3019426 h 3019426"/>
              <a:gd name="connsiteX3" fmla="*/ 0 w 4324350"/>
              <a:gd name="connsiteY3" fmla="*/ 0 h 3019426"/>
              <a:gd name="connsiteX0" fmla="*/ 0 w 4337998"/>
              <a:gd name="connsiteY0" fmla="*/ 0 h 3019426"/>
              <a:gd name="connsiteX1" fmla="*/ 4337998 w 4337998"/>
              <a:gd name="connsiteY1" fmla="*/ 1214438 h 3019426"/>
              <a:gd name="connsiteX2" fmla="*/ 3028950 w 4337998"/>
              <a:gd name="connsiteY2" fmla="*/ 3019426 h 3019426"/>
              <a:gd name="connsiteX3" fmla="*/ 0 w 4337998"/>
              <a:gd name="connsiteY3" fmla="*/ 0 h 3019426"/>
              <a:gd name="connsiteX0" fmla="*/ 0 w 4337998"/>
              <a:gd name="connsiteY0" fmla="*/ 0 h 3019426"/>
              <a:gd name="connsiteX1" fmla="*/ 4337998 w 4337998"/>
              <a:gd name="connsiteY1" fmla="*/ 1214438 h 3019426"/>
              <a:gd name="connsiteX2" fmla="*/ 3015303 w 4337998"/>
              <a:gd name="connsiteY2" fmla="*/ 3019426 h 3019426"/>
              <a:gd name="connsiteX3" fmla="*/ 0 w 4337998"/>
              <a:gd name="connsiteY3" fmla="*/ 0 h 3019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7998" h="3019426">
                <a:moveTo>
                  <a:pt x="0" y="0"/>
                </a:moveTo>
                <a:lnTo>
                  <a:pt x="4337998" y="1214438"/>
                </a:lnTo>
                <a:lnTo>
                  <a:pt x="3015303" y="301942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">
                <a:schemeClr val="accent2"/>
              </a:gs>
              <a:gs pos="100000">
                <a:schemeClr val="accent1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r>
              <a:rPr lang="en-US" sz="2000" dirty="0"/>
              <a:t>s</a:t>
            </a:r>
          </a:p>
        </p:txBody>
      </p:sp>
      <p:sp>
        <p:nvSpPr>
          <p:cNvPr id="17" name="Freeform 16"/>
          <p:cNvSpPr/>
          <p:nvPr userDrawn="1"/>
        </p:nvSpPr>
        <p:spPr>
          <a:xfrm>
            <a:off x="7667625" y="1"/>
            <a:ext cx="4524375" cy="1214438"/>
          </a:xfrm>
          <a:custGeom>
            <a:avLst/>
            <a:gdLst>
              <a:gd name="connsiteX0" fmla="*/ 3367088 w 4524375"/>
              <a:gd name="connsiteY0" fmla="*/ 0 h 1223963"/>
              <a:gd name="connsiteX1" fmla="*/ 0 w 4524375"/>
              <a:gd name="connsiteY1" fmla="*/ 1223963 h 1223963"/>
              <a:gd name="connsiteX2" fmla="*/ 4524375 w 4524375"/>
              <a:gd name="connsiteY2" fmla="*/ 1071563 h 1223963"/>
              <a:gd name="connsiteX3" fmla="*/ 3367088 w 4524375"/>
              <a:gd name="connsiteY3" fmla="*/ 0 h 1223963"/>
              <a:gd name="connsiteX0" fmla="*/ 3352800 w 4524375"/>
              <a:gd name="connsiteY0" fmla="*/ 0 h 1233489"/>
              <a:gd name="connsiteX1" fmla="*/ 0 w 4524375"/>
              <a:gd name="connsiteY1" fmla="*/ 1233489 h 1233489"/>
              <a:gd name="connsiteX2" fmla="*/ 4524375 w 4524375"/>
              <a:gd name="connsiteY2" fmla="*/ 1081089 h 1233489"/>
              <a:gd name="connsiteX3" fmla="*/ 3352800 w 4524375"/>
              <a:gd name="connsiteY3" fmla="*/ 0 h 1233489"/>
              <a:gd name="connsiteX0" fmla="*/ 3352800 w 4524375"/>
              <a:gd name="connsiteY0" fmla="*/ 0 h 1228726"/>
              <a:gd name="connsiteX1" fmla="*/ 0 w 4524375"/>
              <a:gd name="connsiteY1" fmla="*/ 1228726 h 1228726"/>
              <a:gd name="connsiteX2" fmla="*/ 4524375 w 4524375"/>
              <a:gd name="connsiteY2" fmla="*/ 1076326 h 1228726"/>
              <a:gd name="connsiteX3" fmla="*/ 3352800 w 4524375"/>
              <a:gd name="connsiteY3" fmla="*/ 0 h 1228726"/>
              <a:gd name="connsiteX0" fmla="*/ 3357563 w 4524375"/>
              <a:gd name="connsiteY0" fmla="*/ 0 h 1223963"/>
              <a:gd name="connsiteX1" fmla="*/ 0 w 4524375"/>
              <a:gd name="connsiteY1" fmla="*/ 1223963 h 1223963"/>
              <a:gd name="connsiteX2" fmla="*/ 4524375 w 4524375"/>
              <a:gd name="connsiteY2" fmla="*/ 1071563 h 1223963"/>
              <a:gd name="connsiteX3" fmla="*/ 3357563 w 4524375"/>
              <a:gd name="connsiteY3" fmla="*/ 0 h 1223963"/>
              <a:gd name="connsiteX0" fmla="*/ 3371851 w 4538663"/>
              <a:gd name="connsiteY0" fmla="*/ 0 h 1219200"/>
              <a:gd name="connsiteX1" fmla="*/ 0 w 4538663"/>
              <a:gd name="connsiteY1" fmla="*/ 1219200 h 1219200"/>
              <a:gd name="connsiteX2" fmla="*/ 4538663 w 4538663"/>
              <a:gd name="connsiteY2" fmla="*/ 1071563 h 1219200"/>
              <a:gd name="connsiteX3" fmla="*/ 3371851 w 4538663"/>
              <a:gd name="connsiteY3" fmla="*/ 0 h 1219200"/>
              <a:gd name="connsiteX0" fmla="*/ 3243264 w 4410076"/>
              <a:gd name="connsiteY0" fmla="*/ 0 h 1071563"/>
              <a:gd name="connsiteX1" fmla="*/ 0 w 4410076"/>
              <a:gd name="connsiteY1" fmla="*/ 1033463 h 1071563"/>
              <a:gd name="connsiteX2" fmla="*/ 4410076 w 4410076"/>
              <a:gd name="connsiteY2" fmla="*/ 1071563 h 1071563"/>
              <a:gd name="connsiteX3" fmla="*/ 3243264 w 4410076"/>
              <a:gd name="connsiteY3" fmla="*/ 0 h 1071563"/>
              <a:gd name="connsiteX0" fmla="*/ 3352801 w 4519613"/>
              <a:gd name="connsiteY0" fmla="*/ 0 h 1214438"/>
              <a:gd name="connsiteX1" fmla="*/ 0 w 4519613"/>
              <a:gd name="connsiteY1" fmla="*/ 1214438 h 1214438"/>
              <a:gd name="connsiteX2" fmla="*/ 4519613 w 4519613"/>
              <a:gd name="connsiteY2" fmla="*/ 1071563 h 1214438"/>
              <a:gd name="connsiteX3" fmla="*/ 3352801 w 4519613"/>
              <a:gd name="connsiteY3" fmla="*/ 0 h 1214438"/>
              <a:gd name="connsiteX0" fmla="*/ 3352801 w 4533261"/>
              <a:gd name="connsiteY0" fmla="*/ 0 h 1214438"/>
              <a:gd name="connsiteX1" fmla="*/ 0 w 4533261"/>
              <a:gd name="connsiteY1" fmla="*/ 1214438 h 1214438"/>
              <a:gd name="connsiteX2" fmla="*/ 4533261 w 4533261"/>
              <a:gd name="connsiteY2" fmla="*/ 1071563 h 1214438"/>
              <a:gd name="connsiteX3" fmla="*/ 3352801 w 4533261"/>
              <a:gd name="connsiteY3" fmla="*/ 0 h 1214438"/>
              <a:gd name="connsiteX0" fmla="*/ 3352801 w 4533261"/>
              <a:gd name="connsiteY0" fmla="*/ 0 h 1214438"/>
              <a:gd name="connsiteX1" fmla="*/ 0 w 4533261"/>
              <a:gd name="connsiteY1" fmla="*/ 1214438 h 1214438"/>
              <a:gd name="connsiteX2" fmla="*/ 4533261 w 4533261"/>
              <a:gd name="connsiteY2" fmla="*/ 1098859 h 1214438"/>
              <a:gd name="connsiteX3" fmla="*/ 3352801 w 4533261"/>
              <a:gd name="connsiteY3" fmla="*/ 0 h 1214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33261" h="1214438">
                <a:moveTo>
                  <a:pt x="3352801" y="0"/>
                </a:moveTo>
                <a:lnTo>
                  <a:pt x="0" y="1214438"/>
                </a:lnTo>
                <a:lnTo>
                  <a:pt x="4533261" y="1098859"/>
                </a:lnTo>
                <a:lnTo>
                  <a:pt x="3352801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8" name="Freeform 17"/>
          <p:cNvSpPr/>
          <p:nvPr userDrawn="1"/>
        </p:nvSpPr>
        <p:spPr>
          <a:xfrm>
            <a:off x="11015664" y="1"/>
            <a:ext cx="1176841" cy="1098080"/>
          </a:xfrm>
          <a:custGeom>
            <a:avLst/>
            <a:gdLst>
              <a:gd name="connsiteX0" fmla="*/ 0 w 1171575"/>
              <a:gd name="connsiteY0" fmla="*/ 0 h 1076325"/>
              <a:gd name="connsiteX1" fmla="*/ 1171575 w 1171575"/>
              <a:gd name="connsiteY1" fmla="*/ 1076325 h 1076325"/>
              <a:gd name="connsiteX2" fmla="*/ 1171575 w 1171575"/>
              <a:gd name="connsiteY2" fmla="*/ 0 h 1076325"/>
              <a:gd name="connsiteX3" fmla="*/ 0 w 1171575"/>
              <a:gd name="connsiteY3" fmla="*/ 0 h 1076325"/>
              <a:gd name="connsiteX0" fmla="*/ 0 w 1171575"/>
              <a:gd name="connsiteY0" fmla="*/ 0 h 1076325"/>
              <a:gd name="connsiteX1" fmla="*/ 1171575 w 1171575"/>
              <a:gd name="connsiteY1" fmla="*/ 1076325 h 1076325"/>
              <a:gd name="connsiteX2" fmla="*/ 1171575 w 1171575"/>
              <a:gd name="connsiteY2" fmla="*/ 0 h 1076325"/>
              <a:gd name="connsiteX3" fmla="*/ 0 w 1171575"/>
              <a:gd name="connsiteY3" fmla="*/ 0 h 1076325"/>
              <a:gd name="connsiteX0" fmla="*/ 0 w 1176299"/>
              <a:gd name="connsiteY0" fmla="*/ 0 h 1085850"/>
              <a:gd name="connsiteX1" fmla="*/ 1176299 w 1176299"/>
              <a:gd name="connsiteY1" fmla="*/ 1085850 h 1085850"/>
              <a:gd name="connsiteX2" fmla="*/ 1171575 w 1176299"/>
              <a:gd name="connsiteY2" fmla="*/ 0 h 1085850"/>
              <a:gd name="connsiteX3" fmla="*/ 0 w 1176299"/>
              <a:gd name="connsiteY3" fmla="*/ 0 h 1085850"/>
              <a:gd name="connsiteX0" fmla="*/ 0 w 1181344"/>
              <a:gd name="connsiteY0" fmla="*/ 0 h 1085850"/>
              <a:gd name="connsiteX1" fmla="*/ 1176299 w 1181344"/>
              <a:gd name="connsiteY1" fmla="*/ 1085850 h 1085850"/>
              <a:gd name="connsiteX2" fmla="*/ 1181138 w 1181344"/>
              <a:gd name="connsiteY2" fmla="*/ 0 h 1085850"/>
              <a:gd name="connsiteX3" fmla="*/ 0 w 1181344"/>
              <a:gd name="connsiteY3" fmla="*/ 0 h 1085850"/>
              <a:gd name="connsiteX0" fmla="*/ 0 w 1181586"/>
              <a:gd name="connsiteY0" fmla="*/ 0 h 1081088"/>
              <a:gd name="connsiteX1" fmla="*/ 1181080 w 1181586"/>
              <a:gd name="connsiteY1" fmla="*/ 1081088 h 1081088"/>
              <a:gd name="connsiteX2" fmla="*/ 1181138 w 1181586"/>
              <a:gd name="connsiteY2" fmla="*/ 0 h 1081088"/>
              <a:gd name="connsiteX3" fmla="*/ 0 w 1181586"/>
              <a:gd name="connsiteY3" fmla="*/ 0 h 1081088"/>
              <a:gd name="connsiteX0" fmla="*/ 0 w 1181586"/>
              <a:gd name="connsiteY0" fmla="*/ 0 h 1070785"/>
              <a:gd name="connsiteX1" fmla="*/ 1181080 w 1181586"/>
              <a:gd name="connsiteY1" fmla="*/ 1070785 h 1070785"/>
              <a:gd name="connsiteX2" fmla="*/ 1181138 w 1181586"/>
              <a:gd name="connsiteY2" fmla="*/ 0 h 1070785"/>
              <a:gd name="connsiteX3" fmla="*/ 0 w 1181586"/>
              <a:gd name="connsiteY3" fmla="*/ 0 h 1070785"/>
              <a:gd name="connsiteX0" fmla="*/ 0 w 1181152"/>
              <a:gd name="connsiteY0" fmla="*/ 0 h 593113"/>
              <a:gd name="connsiteX1" fmla="*/ 1057755 w 1181152"/>
              <a:gd name="connsiteY1" fmla="*/ 593113 h 593113"/>
              <a:gd name="connsiteX2" fmla="*/ 1181138 w 1181152"/>
              <a:gd name="connsiteY2" fmla="*/ 0 h 593113"/>
              <a:gd name="connsiteX3" fmla="*/ 0 w 1181152"/>
              <a:gd name="connsiteY3" fmla="*/ 0 h 593113"/>
              <a:gd name="connsiteX0" fmla="*/ 0 w 1181586"/>
              <a:gd name="connsiteY0" fmla="*/ 0 h 1098080"/>
              <a:gd name="connsiteX1" fmla="*/ 1181081 w 1181586"/>
              <a:gd name="connsiteY1" fmla="*/ 1098080 h 1098080"/>
              <a:gd name="connsiteX2" fmla="*/ 1181138 w 1181586"/>
              <a:gd name="connsiteY2" fmla="*/ 0 h 1098080"/>
              <a:gd name="connsiteX3" fmla="*/ 0 w 1181586"/>
              <a:gd name="connsiteY3" fmla="*/ 0 h 109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1586" h="1098080">
                <a:moveTo>
                  <a:pt x="0" y="0"/>
                </a:moveTo>
                <a:lnTo>
                  <a:pt x="1181081" y="1098080"/>
                </a:lnTo>
                <a:cubicBezTo>
                  <a:pt x="1179506" y="736130"/>
                  <a:pt x="1182713" y="361950"/>
                  <a:pt x="1181138" y="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3000">
                <a:schemeClr val="accent1"/>
              </a:gs>
              <a:gs pos="100000">
                <a:schemeClr val="accent2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9" name="Freeform 18"/>
          <p:cNvSpPr/>
          <p:nvPr userDrawn="1"/>
        </p:nvSpPr>
        <p:spPr>
          <a:xfrm>
            <a:off x="10959906" y="1057275"/>
            <a:ext cx="1232552" cy="3276600"/>
          </a:xfrm>
          <a:custGeom>
            <a:avLst/>
            <a:gdLst>
              <a:gd name="connsiteX0" fmla="*/ 1171575 w 1176337"/>
              <a:gd name="connsiteY0" fmla="*/ 0 h 3267075"/>
              <a:gd name="connsiteX1" fmla="*/ 0 w 1176337"/>
              <a:gd name="connsiteY1" fmla="*/ 2762250 h 3267075"/>
              <a:gd name="connsiteX2" fmla="*/ 1176337 w 1176337"/>
              <a:gd name="connsiteY2" fmla="*/ 3267075 h 3267075"/>
              <a:gd name="connsiteX3" fmla="*/ 1171575 w 1176337"/>
              <a:gd name="connsiteY3" fmla="*/ 0 h 3267075"/>
              <a:gd name="connsiteX0" fmla="*/ 1176337 w 1176795"/>
              <a:gd name="connsiteY0" fmla="*/ 0 h 3276600"/>
              <a:gd name="connsiteX1" fmla="*/ 0 w 1176795"/>
              <a:gd name="connsiteY1" fmla="*/ 2771775 h 3276600"/>
              <a:gd name="connsiteX2" fmla="*/ 1176337 w 1176795"/>
              <a:gd name="connsiteY2" fmla="*/ 3276600 h 3276600"/>
              <a:gd name="connsiteX3" fmla="*/ 1176337 w 1176795"/>
              <a:gd name="connsiteY3" fmla="*/ 0 h 3276600"/>
              <a:gd name="connsiteX0" fmla="*/ 1209791 w 1210249"/>
              <a:gd name="connsiteY0" fmla="*/ 0 h 3276600"/>
              <a:gd name="connsiteX1" fmla="*/ 0 w 1210249"/>
              <a:gd name="connsiteY1" fmla="*/ 2771775 h 3276600"/>
              <a:gd name="connsiteX2" fmla="*/ 1209791 w 1210249"/>
              <a:gd name="connsiteY2" fmla="*/ 3276600 h 3276600"/>
              <a:gd name="connsiteX3" fmla="*/ 1209791 w 1210249"/>
              <a:gd name="connsiteY3" fmla="*/ 0 h 3276600"/>
              <a:gd name="connsiteX0" fmla="*/ 1232094 w 1232552"/>
              <a:gd name="connsiteY0" fmla="*/ 0 h 3276600"/>
              <a:gd name="connsiteX1" fmla="*/ 0 w 1232552"/>
              <a:gd name="connsiteY1" fmla="*/ 2749472 h 3276600"/>
              <a:gd name="connsiteX2" fmla="*/ 1232094 w 1232552"/>
              <a:gd name="connsiteY2" fmla="*/ 3276600 h 3276600"/>
              <a:gd name="connsiteX3" fmla="*/ 1232094 w 1232552"/>
              <a:gd name="connsiteY3" fmla="*/ 0 h 327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2552" h="3276600">
                <a:moveTo>
                  <a:pt x="1232094" y="0"/>
                </a:moveTo>
                <a:lnTo>
                  <a:pt x="0" y="2749472"/>
                </a:lnTo>
                <a:lnTo>
                  <a:pt x="1232094" y="3276600"/>
                </a:lnTo>
                <a:cubicBezTo>
                  <a:pt x="1230507" y="2187575"/>
                  <a:pt x="1233681" y="1089025"/>
                  <a:pt x="1232094" y="0"/>
                </a:cubicBez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0" name="Freeform 19"/>
          <p:cNvSpPr/>
          <p:nvPr userDrawn="1"/>
        </p:nvSpPr>
        <p:spPr>
          <a:xfrm>
            <a:off x="6366969" y="2428875"/>
            <a:ext cx="3339005" cy="2271713"/>
          </a:xfrm>
          <a:custGeom>
            <a:avLst/>
            <a:gdLst>
              <a:gd name="connsiteX0" fmla="*/ 0 w 3324225"/>
              <a:gd name="connsiteY0" fmla="*/ 590550 h 2271713"/>
              <a:gd name="connsiteX1" fmla="*/ 1343025 w 3324225"/>
              <a:gd name="connsiteY1" fmla="*/ 2271713 h 2271713"/>
              <a:gd name="connsiteX2" fmla="*/ 3324225 w 3324225"/>
              <a:gd name="connsiteY2" fmla="*/ 0 h 2271713"/>
              <a:gd name="connsiteX3" fmla="*/ 0 w 3324225"/>
              <a:gd name="connsiteY3" fmla="*/ 590550 h 2271713"/>
              <a:gd name="connsiteX0" fmla="*/ 0 w 3333750"/>
              <a:gd name="connsiteY0" fmla="*/ 585787 h 2271713"/>
              <a:gd name="connsiteX1" fmla="*/ 1352550 w 3333750"/>
              <a:gd name="connsiteY1" fmla="*/ 2271713 h 2271713"/>
              <a:gd name="connsiteX2" fmla="*/ 3333750 w 3333750"/>
              <a:gd name="connsiteY2" fmla="*/ 0 h 2271713"/>
              <a:gd name="connsiteX3" fmla="*/ 0 w 3333750"/>
              <a:gd name="connsiteY3" fmla="*/ 585787 h 2271713"/>
              <a:gd name="connsiteX0" fmla="*/ 0 w 3333750"/>
              <a:gd name="connsiteY0" fmla="*/ 591043 h 2271713"/>
              <a:gd name="connsiteX1" fmla="*/ 1352550 w 3333750"/>
              <a:gd name="connsiteY1" fmla="*/ 2271713 h 2271713"/>
              <a:gd name="connsiteX2" fmla="*/ 3333750 w 3333750"/>
              <a:gd name="connsiteY2" fmla="*/ 0 h 2271713"/>
              <a:gd name="connsiteX3" fmla="*/ 0 w 3333750"/>
              <a:gd name="connsiteY3" fmla="*/ 591043 h 2271713"/>
              <a:gd name="connsiteX0" fmla="*/ 0 w 3339005"/>
              <a:gd name="connsiteY0" fmla="*/ 591043 h 2271713"/>
              <a:gd name="connsiteX1" fmla="*/ 1357805 w 3339005"/>
              <a:gd name="connsiteY1" fmla="*/ 2271713 h 2271713"/>
              <a:gd name="connsiteX2" fmla="*/ 3339005 w 3339005"/>
              <a:gd name="connsiteY2" fmla="*/ 0 h 2271713"/>
              <a:gd name="connsiteX3" fmla="*/ 0 w 3339005"/>
              <a:gd name="connsiteY3" fmla="*/ 591043 h 2271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39005" h="2271713">
                <a:moveTo>
                  <a:pt x="0" y="591043"/>
                </a:moveTo>
                <a:lnTo>
                  <a:pt x="1357805" y="2271713"/>
                </a:lnTo>
                <a:lnTo>
                  <a:pt x="3339005" y="0"/>
                </a:lnTo>
                <a:lnTo>
                  <a:pt x="0" y="591043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7000">
                <a:schemeClr val="accent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1" name="Freeform 20"/>
          <p:cNvSpPr/>
          <p:nvPr userDrawn="1"/>
        </p:nvSpPr>
        <p:spPr>
          <a:xfrm>
            <a:off x="1025774" y="1761707"/>
            <a:ext cx="2098477" cy="1910094"/>
          </a:xfrm>
          <a:custGeom>
            <a:avLst/>
            <a:gdLst>
              <a:gd name="connsiteX0" fmla="*/ 2086304 w 2086304"/>
              <a:gd name="connsiteY0" fmla="*/ 0 h 1886607"/>
              <a:gd name="connsiteX1" fmla="*/ 0 w 2086304"/>
              <a:gd name="connsiteY1" fmla="*/ 15765 h 1886607"/>
              <a:gd name="connsiteX2" fmla="*/ 362607 w 2086304"/>
              <a:gd name="connsiteY2" fmla="*/ 1886607 h 1886607"/>
              <a:gd name="connsiteX3" fmla="*/ 2086304 w 2086304"/>
              <a:gd name="connsiteY3" fmla="*/ 0 h 1886607"/>
              <a:gd name="connsiteX0" fmla="*/ 2101053 w 2101053"/>
              <a:gd name="connsiteY0" fmla="*/ 0 h 1886607"/>
              <a:gd name="connsiteX1" fmla="*/ 0 w 2101053"/>
              <a:gd name="connsiteY1" fmla="*/ 1207 h 1886607"/>
              <a:gd name="connsiteX2" fmla="*/ 377356 w 2101053"/>
              <a:gd name="connsiteY2" fmla="*/ 1886607 h 1886607"/>
              <a:gd name="connsiteX3" fmla="*/ 2101053 w 2101053"/>
              <a:gd name="connsiteY3" fmla="*/ 0 h 1886607"/>
              <a:gd name="connsiteX0" fmla="*/ 2098477 w 2098477"/>
              <a:gd name="connsiteY0" fmla="*/ 8963 h 1885400"/>
              <a:gd name="connsiteX1" fmla="*/ 0 w 2098477"/>
              <a:gd name="connsiteY1" fmla="*/ 0 h 1885400"/>
              <a:gd name="connsiteX2" fmla="*/ 377356 w 2098477"/>
              <a:gd name="connsiteY2" fmla="*/ 1885400 h 1885400"/>
              <a:gd name="connsiteX3" fmla="*/ 2098477 w 2098477"/>
              <a:gd name="connsiteY3" fmla="*/ 8963 h 188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8477" h="1885400">
                <a:moveTo>
                  <a:pt x="2098477" y="8963"/>
                </a:moveTo>
                <a:lnTo>
                  <a:pt x="0" y="0"/>
                </a:lnTo>
                <a:lnTo>
                  <a:pt x="377356" y="1885400"/>
                </a:lnTo>
                <a:lnTo>
                  <a:pt x="2098477" y="8963"/>
                </a:lnTo>
                <a:close/>
              </a:path>
            </a:pathLst>
          </a:custGeom>
          <a:gradFill>
            <a:gsLst>
              <a:gs pos="8000">
                <a:schemeClr val="accent2"/>
              </a:gs>
              <a:gs pos="90000">
                <a:schemeClr val="accent1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2" name="Freeform 21"/>
          <p:cNvSpPr/>
          <p:nvPr userDrawn="1"/>
        </p:nvSpPr>
        <p:spPr>
          <a:xfrm>
            <a:off x="3532" y="4857972"/>
            <a:ext cx="4090198" cy="2007612"/>
          </a:xfrm>
          <a:custGeom>
            <a:avLst/>
            <a:gdLst>
              <a:gd name="connsiteX0" fmla="*/ 3576398 w 4077729"/>
              <a:gd name="connsiteY0" fmla="*/ 0 h 1994733"/>
              <a:gd name="connsiteX1" fmla="*/ 4077729 w 4077729"/>
              <a:gd name="connsiteY1" fmla="*/ 1101516 h 1994733"/>
              <a:gd name="connsiteX2" fmla="*/ 0 w 4077729"/>
              <a:gd name="connsiteY2" fmla="*/ 1994733 h 1994733"/>
              <a:gd name="connsiteX3" fmla="*/ 3576398 w 4077729"/>
              <a:gd name="connsiteY3" fmla="*/ 0 h 1994733"/>
              <a:gd name="connsiteX0" fmla="*/ 3576398 w 4086042"/>
              <a:gd name="connsiteY0" fmla="*/ 0 h 1994733"/>
              <a:gd name="connsiteX1" fmla="*/ 4086042 w 4086042"/>
              <a:gd name="connsiteY1" fmla="*/ 1093204 h 1994733"/>
              <a:gd name="connsiteX2" fmla="*/ 0 w 4086042"/>
              <a:gd name="connsiteY2" fmla="*/ 1994733 h 1994733"/>
              <a:gd name="connsiteX3" fmla="*/ 3576398 w 4086042"/>
              <a:gd name="connsiteY3" fmla="*/ 0 h 1994733"/>
              <a:gd name="connsiteX0" fmla="*/ 3576398 w 4090198"/>
              <a:gd name="connsiteY0" fmla="*/ 0 h 1994733"/>
              <a:gd name="connsiteX1" fmla="*/ 4090198 w 4090198"/>
              <a:gd name="connsiteY1" fmla="*/ 1084892 h 1994733"/>
              <a:gd name="connsiteX2" fmla="*/ 0 w 4090198"/>
              <a:gd name="connsiteY2" fmla="*/ 1994733 h 1994733"/>
              <a:gd name="connsiteX3" fmla="*/ 3576398 w 4090198"/>
              <a:gd name="connsiteY3" fmla="*/ 0 h 1994733"/>
              <a:gd name="connsiteX0" fmla="*/ 3576398 w 4090198"/>
              <a:gd name="connsiteY0" fmla="*/ 0 h 2007612"/>
              <a:gd name="connsiteX1" fmla="*/ 4090198 w 4090198"/>
              <a:gd name="connsiteY1" fmla="*/ 1084892 h 2007612"/>
              <a:gd name="connsiteX2" fmla="*/ 0 w 4090198"/>
              <a:gd name="connsiteY2" fmla="*/ 2007612 h 2007612"/>
              <a:gd name="connsiteX3" fmla="*/ 3576398 w 4090198"/>
              <a:gd name="connsiteY3" fmla="*/ 0 h 2007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90198" h="2007612">
                <a:moveTo>
                  <a:pt x="3576398" y="0"/>
                </a:moveTo>
                <a:lnTo>
                  <a:pt x="4090198" y="1084892"/>
                </a:lnTo>
                <a:lnTo>
                  <a:pt x="0" y="2007612"/>
                </a:lnTo>
                <a:lnTo>
                  <a:pt x="3576398" y="0"/>
                </a:lnTo>
                <a:close/>
              </a:path>
            </a:pathLst>
          </a:custGeo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3" name="Freeform 22"/>
          <p:cNvSpPr/>
          <p:nvPr userDrawn="1"/>
        </p:nvSpPr>
        <p:spPr>
          <a:xfrm>
            <a:off x="-6301" y="5938309"/>
            <a:ext cx="4092304" cy="924304"/>
          </a:xfrm>
          <a:custGeom>
            <a:avLst/>
            <a:gdLst>
              <a:gd name="connsiteX0" fmla="*/ 4074199 w 4074199"/>
              <a:gd name="connsiteY0" fmla="*/ 0 h 907339"/>
              <a:gd name="connsiteX1" fmla="*/ 3357507 w 4074199"/>
              <a:gd name="connsiteY1" fmla="*/ 907339 h 907339"/>
              <a:gd name="connsiteX2" fmla="*/ 0 w 4074199"/>
              <a:gd name="connsiteY2" fmla="*/ 907339 h 907339"/>
              <a:gd name="connsiteX3" fmla="*/ 4074199 w 4074199"/>
              <a:gd name="connsiteY3" fmla="*/ 0 h 907339"/>
              <a:gd name="connsiteX0" fmla="*/ 4084791 w 4084791"/>
              <a:gd name="connsiteY0" fmla="*/ 0 h 907339"/>
              <a:gd name="connsiteX1" fmla="*/ 3368099 w 4084791"/>
              <a:gd name="connsiteY1" fmla="*/ 907339 h 907339"/>
              <a:gd name="connsiteX2" fmla="*/ 0 w 4084791"/>
              <a:gd name="connsiteY2" fmla="*/ 907339 h 907339"/>
              <a:gd name="connsiteX3" fmla="*/ 4084791 w 4084791"/>
              <a:gd name="connsiteY3" fmla="*/ 0 h 907339"/>
              <a:gd name="connsiteX0" fmla="*/ 4100031 w 4100031"/>
              <a:gd name="connsiteY0" fmla="*/ 0 h 907339"/>
              <a:gd name="connsiteX1" fmla="*/ 3368099 w 4100031"/>
              <a:gd name="connsiteY1" fmla="*/ 907339 h 907339"/>
              <a:gd name="connsiteX2" fmla="*/ 0 w 4100031"/>
              <a:gd name="connsiteY2" fmla="*/ 907339 h 907339"/>
              <a:gd name="connsiteX3" fmla="*/ 4100031 w 4100031"/>
              <a:gd name="connsiteY3" fmla="*/ 0 h 907339"/>
              <a:gd name="connsiteX0" fmla="*/ 4102607 w 4102607"/>
              <a:gd name="connsiteY0" fmla="*/ 0 h 907339"/>
              <a:gd name="connsiteX1" fmla="*/ 3370675 w 4102607"/>
              <a:gd name="connsiteY1" fmla="*/ 907339 h 907339"/>
              <a:gd name="connsiteX2" fmla="*/ 0 w 4102607"/>
              <a:gd name="connsiteY2" fmla="*/ 857464 h 907339"/>
              <a:gd name="connsiteX3" fmla="*/ 4102607 w 4102607"/>
              <a:gd name="connsiteY3" fmla="*/ 0 h 907339"/>
              <a:gd name="connsiteX0" fmla="*/ 4097455 w 4097455"/>
              <a:gd name="connsiteY0" fmla="*/ 0 h 907339"/>
              <a:gd name="connsiteX1" fmla="*/ 3365523 w 4097455"/>
              <a:gd name="connsiteY1" fmla="*/ 907339 h 907339"/>
              <a:gd name="connsiteX2" fmla="*/ 0 w 4097455"/>
              <a:gd name="connsiteY2" fmla="*/ 859958 h 907339"/>
              <a:gd name="connsiteX3" fmla="*/ 4097455 w 4097455"/>
              <a:gd name="connsiteY3" fmla="*/ 0 h 907339"/>
              <a:gd name="connsiteX0" fmla="*/ 4097455 w 4097455"/>
              <a:gd name="connsiteY0" fmla="*/ 0 h 862451"/>
              <a:gd name="connsiteX1" fmla="*/ 3411887 w 4097455"/>
              <a:gd name="connsiteY1" fmla="*/ 862451 h 862451"/>
              <a:gd name="connsiteX2" fmla="*/ 0 w 4097455"/>
              <a:gd name="connsiteY2" fmla="*/ 859958 h 862451"/>
              <a:gd name="connsiteX3" fmla="*/ 4097455 w 4097455"/>
              <a:gd name="connsiteY3" fmla="*/ 0 h 862451"/>
              <a:gd name="connsiteX0" fmla="*/ 4089728 w 4089728"/>
              <a:gd name="connsiteY0" fmla="*/ 0 h 892377"/>
              <a:gd name="connsiteX1" fmla="*/ 3411887 w 4089728"/>
              <a:gd name="connsiteY1" fmla="*/ 892377 h 892377"/>
              <a:gd name="connsiteX2" fmla="*/ 0 w 4089728"/>
              <a:gd name="connsiteY2" fmla="*/ 889884 h 892377"/>
              <a:gd name="connsiteX3" fmla="*/ 4089728 w 4089728"/>
              <a:gd name="connsiteY3" fmla="*/ 0 h 892377"/>
              <a:gd name="connsiteX0" fmla="*/ 4089728 w 4089728"/>
              <a:gd name="connsiteY0" fmla="*/ 0 h 892377"/>
              <a:gd name="connsiteX1" fmla="*/ 3424766 w 4089728"/>
              <a:gd name="connsiteY1" fmla="*/ 892377 h 892377"/>
              <a:gd name="connsiteX2" fmla="*/ 0 w 4089728"/>
              <a:gd name="connsiteY2" fmla="*/ 889884 h 892377"/>
              <a:gd name="connsiteX3" fmla="*/ 4089728 w 4089728"/>
              <a:gd name="connsiteY3" fmla="*/ 0 h 892377"/>
              <a:gd name="connsiteX0" fmla="*/ 4089728 w 4089728"/>
              <a:gd name="connsiteY0" fmla="*/ 0 h 889884"/>
              <a:gd name="connsiteX1" fmla="*/ 3360372 w 4089728"/>
              <a:gd name="connsiteY1" fmla="*/ 889884 h 889884"/>
              <a:gd name="connsiteX2" fmla="*/ 0 w 4089728"/>
              <a:gd name="connsiteY2" fmla="*/ 889884 h 889884"/>
              <a:gd name="connsiteX3" fmla="*/ 4089728 w 4089728"/>
              <a:gd name="connsiteY3" fmla="*/ 0 h 889884"/>
              <a:gd name="connsiteX0" fmla="*/ 4079425 w 4079425"/>
              <a:gd name="connsiteY0" fmla="*/ 0 h 889884"/>
              <a:gd name="connsiteX1" fmla="*/ 3350069 w 4079425"/>
              <a:gd name="connsiteY1" fmla="*/ 889884 h 889884"/>
              <a:gd name="connsiteX2" fmla="*/ 0 w 4079425"/>
              <a:gd name="connsiteY2" fmla="*/ 882403 h 889884"/>
              <a:gd name="connsiteX3" fmla="*/ 4079425 w 4079425"/>
              <a:gd name="connsiteY3" fmla="*/ 0 h 889884"/>
              <a:gd name="connsiteX0" fmla="*/ 4082000 w 4082000"/>
              <a:gd name="connsiteY0" fmla="*/ 0 h 889884"/>
              <a:gd name="connsiteX1" fmla="*/ 3352644 w 4082000"/>
              <a:gd name="connsiteY1" fmla="*/ 889884 h 889884"/>
              <a:gd name="connsiteX2" fmla="*/ 0 w 4082000"/>
              <a:gd name="connsiteY2" fmla="*/ 882403 h 889884"/>
              <a:gd name="connsiteX3" fmla="*/ 4082000 w 4082000"/>
              <a:gd name="connsiteY3" fmla="*/ 0 h 889884"/>
              <a:gd name="connsiteX0" fmla="*/ 4087152 w 4087152"/>
              <a:gd name="connsiteY0" fmla="*/ 0 h 1007091"/>
              <a:gd name="connsiteX1" fmla="*/ 3357796 w 4087152"/>
              <a:gd name="connsiteY1" fmla="*/ 889884 h 1007091"/>
              <a:gd name="connsiteX2" fmla="*/ 0 w 4087152"/>
              <a:gd name="connsiteY2" fmla="*/ 1007091 h 1007091"/>
              <a:gd name="connsiteX3" fmla="*/ 4087152 w 4087152"/>
              <a:gd name="connsiteY3" fmla="*/ 0 h 1007091"/>
              <a:gd name="connsiteX0" fmla="*/ 4092304 w 4092304"/>
              <a:gd name="connsiteY0" fmla="*/ 0 h 894872"/>
              <a:gd name="connsiteX1" fmla="*/ 3362948 w 4092304"/>
              <a:gd name="connsiteY1" fmla="*/ 889884 h 894872"/>
              <a:gd name="connsiteX2" fmla="*/ 0 w 4092304"/>
              <a:gd name="connsiteY2" fmla="*/ 894872 h 894872"/>
              <a:gd name="connsiteX3" fmla="*/ 4092304 w 4092304"/>
              <a:gd name="connsiteY3" fmla="*/ 0 h 894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92304" h="894872">
                <a:moveTo>
                  <a:pt x="4092304" y="0"/>
                </a:moveTo>
                <a:lnTo>
                  <a:pt x="3362948" y="889884"/>
                </a:lnTo>
                <a:lnTo>
                  <a:pt x="0" y="894872"/>
                </a:lnTo>
                <a:lnTo>
                  <a:pt x="4092304" y="0"/>
                </a:ln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4" name="Freeform 23"/>
          <p:cNvSpPr/>
          <p:nvPr userDrawn="1"/>
        </p:nvSpPr>
        <p:spPr>
          <a:xfrm>
            <a:off x="4102443" y="4914459"/>
            <a:ext cx="547228" cy="151811"/>
          </a:xfrm>
          <a:custGeom>
            <a:avLst/>
            <a:gdLst>
              <a:gd name="connsiteX0" fmla="*/ 0 w 547228"/>
              <a:gd name="connsiteY0" fmla="*/ 0 h 151811"/>
              <a:gd name="connsiteX1" fmla="*/ 547228 w 547228"/>
              <a:gd name="connsiteY1" fmla="*/ 70610 h 151811"/>
              <a:gd name="connsiteX2" fmla="*/ 526045 w 547228"/>
              <a:gd name="connsiteY2" fmla="*/ 151811 h 151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7228" h="151811">
                <a:moveTo>
                  <a:pt x="0" y="0"/>
                </a:moveTo>
                <a:lnTo>
                  <a:pt x="547228" y="70610"/>
                </a:lnTo>
                <a:lnTo>
                  <a:pt x="526045" y="151811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reeform 24"/>
          <p:cNvSpPr/>
          <p:nvPr userDrawn="1"/>
        </p:nvSpPr>
        <p:spPr>
          <a:xfrm>
            <a:off x="3317876" y="5936217"/>
            <a:ext cx="5416584" cy="930949"/>
          </a:xfrm>
          <a:custGeom>
            <a:avLst/>
            <a:gdLst>
              <a:gd name="connsiteX0" fmla="*/ 683287 w 5365819"/>
              <a:gd name="connsiteY0" fmla="*/ 0 h 914400"/>
              <a:gd name="connsiteX1" fmla="*/ 5365819 w 5365819"/>
              <a:gd name="connsiteY1" fmla="*/ 904351 h 914400"/>
              <a:gd name="connsiteX2" fmla="*/ 0 w 5365819"/>
              <a:gd name="connsiteY2" fmla="*/ 914400 h 914400"/>
              <a:gd name="connsiteX3" fmla="*/ 683287 w 5365819"/>
              <a:gd name="connsiteY3" fmla="*/ 0 h 914400"/>
              <a:gd name="connsiteX0" fmla="*/ 711531 w 5394063"/>
              <a:gd name="connsiteY0" fmla="*/ 0 h 917930"/>
              <a:gd name="connsiteX1" fmla="*/ 5394063 w 5394063"/>
              <a:gd name="connsiteY1" fmla="*/ 904351 h 917930"/>
              <a:gd name="connsiteX2" fmla="*/ 0 w 5394063"/>
              <a:gd name="connsiteY2" fmla="*/ 917930 h 917930"/>
              <a:gd name="connsiteX3" fmla="*/ 711531 w 5394063"/>
              <a:gd name="connsiteY3" fmla="*/ 0 h 917930"/>
              <a:gd name="connsiteX0" fmla="*/ 725653 w 5394063"/>
              <a:gd name="connsiteY0" fmla="*/ 0 h 910869"/>
              <a:gd name="connsiteX1" fmla="*/ 5394063 w 5394063"/>
              <a:gd name="connsiteY1" fmla="*/ 897290 h 910869"/>
              <a:gd name="connsiteX2" fmla="*/ 0 w 5394063"/>
              <a:gd name="connsiteY2" fmla="*/ 910869 h 910869"/>
              <a:gd name="connsiteX3" fmla="*/ 725653 w 5394063"/>
              <a:gd name="connsiteY3" fmla="*/ 0 h 910869"/>
              <a:gd name="connsiteX0" fmla="*/ 725653 w 5376410"/>
              <a:gd name="connsiteY0" fmla="*/ 0 h 910869"/>
              <a:gd name="connsiteX1" fmla="*/ 5376410 w 5376410"/>
              <a:gd name="connsiteY1" fmla="*/ 907881 h 910869"/>
              <a:gd name="connsiteX2" fmla="*/ 0 w 5376410"/>
              <a:gd name="connsiteY2" fmla="*/ 910869 h 910869"/>
              <a:gd name="connsiteX3" fmla="*/ 725653 w 5376410"/>
              <a:gd name="connsiteY3" fmla="*/ 0 h 910869"/>
              <a:gd name="connsiteX0" fmla="*/ 783842 w 5376410"/>
              <a:gd name="connsiteY0" fmla="*/ 0 h 765396"/>
              <a:gd name="connsiteX1" fmla="*/ 5376410 w 5376410"/>
              <a:gd name="connsiteY1" fmla="*/ 762408 h 765396"/>
              <a:gd name="connsiteX2" fmla="*/ 0 w 5376410"/>
              <a:gd name="connsiteY2" fmla="*/ 765396 h 765396"/>
              <a:gd name="connsiteX3" fmla="*/ 783842 w 5376410"/>
              <a:gd name="connsiteY3" fmla="*/ 0 h 765396"/>
              <a:gd name="connsiteX0" fmla="*/ 729810 w 5376410"/>
              <a:gd name="connsiteY0" fmla="*/ 0 h 910869"/>
              <a:gd name="connsiteX1" fmla="*/ 5376410 w 5376410"/>
              <a:gd name="connsiteY1" fmla="*/ 907881 h 910869"/>
              <a:gd name="connsiteX2" fmla="*/ 0 w 5376410"/>
              <a:gd name="connsiteY2" fmla="*/ 910869 h 910869"/>
              <a:gd name="connsiteX3" fmla="*/ 729810 w 5376410"/>
              <a:gd name="connsiteY3" fmla="*/ 0 h 910869"/>
              <a:gd name="connsiteX0" fmla="*/ 714570 w 5376410"/>
              <a:gd name="connsiteY0" fmla="*/ 0 h 918489"/>
              <a:gd name="connsiteX1" fmla="*/ 5376410 w 5376410"/>
              <a:gd name="connsiteY1" fmla="*/ 915501 h 918489"/>
              <a:gd name="connsiteX2" fmla="*/ 0 w 5376410"/>
              <a:gd name="connsiteY2" fmla="*/ 918489 h 918489"/>
              <a:gd name="connsiteX3" fmla="*/ 714570 w 5376410"/>
              <a:gd name="connsiteY3" fmla="*/ 0 h 918489"/>
              <a:gd name="connsiteX0" fmla="*/ 809820 w 5376410"/>
              <a:gd name="connsiteY0" fmla="*/ 0 h 758469"/>
              <a:gd name="connsiteX1" fmla="*/ 5376410 w 5376410"/>
              <a:gd name="connsiteY1" fmla="*/ 755481 h 758469"/>
              <a:gd name="connsiteX2" fmla="*/ 0 w 5376410"/>
              <a:gd name="connsiteY2" fmla="*/ 758469 h 758469"/>
              <a:gd name="connsiteX3" fmla="*/ 809820 w 5376410"/>
              <a:gd name="connsiteY3" fmla="*/ 0 h 758469"/>
              <a:gd name="connsiteX0" fmla="*/ 710760 w 5376410"/>
              <a:gd name="connsiteY0" fmla="*/ 0 h 918489"/>
              <a:gd name="connsiteX1" fmla="*/ 5376410 w 5376410"/>
              <a:gd name="connsiteY1" fmla="*/ 915501 h 918489"/>
              <a:gd name="connsiteX2" fmla="*/ 0 w 5376410"/>
              <a:gd name="connsiteY2" fmla="*/ 918489 h 918489"/>
              <a:gd name="connsiteX3" fmla="*/ 710760 w 5376410"/>
              <a:gd name="connsiteY3" fmla="*/ 0 h 918489"/>
              <a:gd name="connsiteX0" fmla="*/ 722190 w 5376410"/>
              <a:gd name="connsiteY0" fmla="*/ 0 h 914679"/>
              <a:gd name="connsiteX1" fmla="*/ 5376410 w 5376410"/>
              <a:gd name="connsiteY1" fmla="*/ 911691 h 914679"/>
              <a:gd name="connsiteX2" fmla="*/ 0 w 5376410"/>
              <a:gd name="connsiteY2" fmla="*/ 914679 h 914679"/>
              <a:gd name="connsiteX3" fmla="*/ 722190 w 5376410"/>
              <a:gd name="connsiteY3" fmla="*/ 0 h 914679"/>
              <a:gd name="connsiteX0" fmla="*/ 735069 w 5389289"/>
              <a:gd name="connsiteY0" fmla="*/ 0 h 912104"/>
              <a:gd name="connsiteX1" fmla="*/ 5389289 w 5389289"/>
              <a:gd name="connsiteY1" fmla="*/ 911691 h 912104"/>
              <a:gd name="connsiteX2" fmla="*/ 0 w 5389289"/>
              <a:gd name="connsiteY2" fmla="*/ 912104 h 912104"/>
              <a:gd name="connsiteX3" fmla="*/ 735069 w 5389289"/>
              <a:gd name="connsiteY3" fmla="*/ 0 h 912104"/>
              <a:gd name="connsiteX0" fmla="*/ 735069 w 5389289"/>
              <a:gd name="connsiteY0" fmla="*/ 0 h 925339"/>
              <a:gd name="connsiteX1" fmla="*/ 5389289 w 5389289"/>
              <a:gd name="connsiteY1" fmla="*/ 925339 h 925339"/>
              <a:gd name="connsiteX2" fmla="*/ 0 w 5389289"/>
              <a:gd name="connsiteY2" fmla="*/ 912104 h 925339"/>
              <a:gd name="connsiteX3" fmla="*/ 735069 w 5389289"/>
              <a:gd name="connsiteY3" fmla="*/ 0 h 925339"/>
              <a:gd name="connsiteX0" fmla="*/ 762364 w 5416584"/>
              <a:gd name="connsiteY0" fmla="*/ 0 h 939400"/>
              <a:gd name="connsiteX1" fmla="*/ 5416584 w 5416584"/>
              <a:gd name="connsiteY1" fmla="*/ 925339 h 939400"/>
              <a:gd name="connsiteX2" fmla="*/ 0 w 5416584"/>
              <a:gd name="connsiteY2" fmla="*/ 939400 h 939400"/>
              <a:gd name="connsiteX3" fmla="*/ 762364 w 5416584"/>
              <a:gd name="connsiteY3" fmla="*/ 0 h 939400"/>
              <a:gd name="connsiteX0" fmla="*/ 762364 w 5416584"/>
              <a:gd name="connsiteY0" fmla="*/ 0 h 945010"/>
              <a:gd name="connsiteX1" fmla="*/ 5416584 w 5416584"/>
              <a:gd name="connsiteY1" fmla="*/ 930949 h 945010"/>
              <a:gd name="connsiteX2" fmla="*/ 0 w 5416584"/>
              <a:gd name="connsiteY2" fmla="*/ 945010 h 945010"/>
              <a:gd name="connsiteX3" fmla="*/ 762364 w 5416584"/>
              <a:gd name="connsiteY3" fmla="*/ 0 h 945010"/>
              <a:gd name="connsiteX0" fmla="*/ 762364 w 5416584"/>
              <a:gd name="connsiteY0" fmla="*/ 0 h 930949"/>
              <a:gd name="connsiteX1" fmla="*/ 5416584 w 5416584"/>
              <a:gd name="connsiteY1" fmla="*/ 930949 h 930949"/>
              <a:gd name="connsiteX2" fmla="*/ 0 w 5416584"/>
              <a:gd name="connsiteY2" fmla="*/ 921156 h 930949"/>
              <a:gd name="connsiteX3" fmla="*/ 762364 w 5416584"/>
              <a:gd name="connsiteY3" fmla="*/ 0 h 930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16584" h="930949">
                <a:moveTo>
                  <a:pt x="762364" y="0"/>
                </a:moveTo>
                <a:lnTo>
                  <a:pt x="5416584" y="930949"/>
                </a:lnTo>
                <a:lnTo>
                  <a:pt x="0" y="921156"/>
                </a:lnTo>
                <a:lnTo>
                  <a:pt x="762364" y="0"/>
                </a:lnTo>
                <a:close/>
              </a:path>
            </a:pathLst>
          </a:custGeom>
          <a:gradFill>
            <a:gsLst>
              <a:gs pos="4000">
                <a:schemeClr val="accent1"/>
              </a:gs>
              <a:gs pos="100000">
                <a:schemeClr val="accent2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6" name="Freeform 25"/>
          <p:cNvSpPr/>
          <p:nvPr userDrawn="1"/>
        </p:nvSpPr>
        <p:spPr>
          <a:xfrm>
            <a:off x="10990536" y="3785435"/>
            <a:ext cx="1203845" cy="3091509"/>
          </a:xfrm>
          <a:custGeom>
            <a:avLst/>
            <a:gdLst>
              <a:gd name="connsiteX0" fmla="*/ 0 w 1182718"/>
              <a:gd name="connsiteY0" fmla="*/ 0 h 3032701"/>
              <a:gd name="connsiteX1" fmla="*/ 497800 w 1182718"/>
              <a:gd name="connsiteY1" fmla="*/ 3032701 h 3032701"/>
              <a:gd name="connsiteX2" fmla="*/ 1182718 w 1182718"/>
              <a:gd name="connsiteY2" fmla="*/ 515453 h 3032701"/>
              <a:gd name="connsiteX3" fmla="*/ 0 w 1182718"/>
              <a:gd name="connsiteY3" fmla="*/ 0 h 3032701"/>
              <a:gd name="connsiteX0" fmla="*/ 0 w 1179187"/>
              <a:gd name="connsiteY0" fmla="*/ 0 h 3029170"/>
              <a:gd name="connsiteX1" fmla="*/ 494269 w 1179187"/>
              <a:gd name="connsiteY1" fmla="*/ 3029170 h 3029170"/>
              <a:gd name="connsiteX2" fmla="*/ 1179187 w 1179187"/>
              <a:gd name="connsiteY2" fmla="*/ 511922 h 3029170"/>
              <a:gd name="connsiteX3" fmla="*/ 0 w 1179187"/>
              <a:gd name="connsiteY3" fmla="*/ 0 h 3029170"/>
              <a:gd name="connsiteX0" fmla="*/ 0 w 1179187"/>
              <a:gd name="connsiteY0" fmla="*/ 0 h 3039761"/>
              <a:gd name="connsiteX1" fmla="*/ 483677 w 1179187"/>
              <a:gd name="connsiteY1" fmla="*/ 3039761 h 3039761"/>
              <a:gd name="connsiteX2" fmla="*/ 1179187 w 1179187"/>
              <a:gd name="connsiteY2" fmla="*/ 511922 h 3039761"/>
              <a:gd name="connsiteX3" fmla="*/ 0 w 1179187"/>
              <a:gd name="connsiteY3" fmla="*/ 0 h 3039761"/>
              <a:gd name="connsiteX0" fmla="*/ 0 w 1190407"/>
              <a:gd name="connsiteY0" fmla="*/ 0 h 3039761"/>
              <a:gd name="connsiteX1" fmla="*/ 494897 w 1190407"/>
              <a:gd name="connsiteY1" fmla="*/ 3039761 h 3039761"/>
              <a:gd name="connsiteX2" fmla="*/ 1190407 w 1190407"/>
              <a:gd name="connsiteY2" fmla="*/ 511922 h 3039761"/>
              <a:gd name="connsiteX3" fmla="*/ 0 w 1190407"/>
              <a:gd name="connsiteY3" fmla="*/ 0 h 3039761"/>
              <a:gd name="connsiteX0" fmla="*/ 0 w 1203107"/>
              <a:gd name="connsiteY0" fmla="*/ 0 h 3065161"/>
              <a:gd name="connsiteX1" fmla="*/ 507597 w 1203107"/>
              <a:gd name="connsiteY1" fmla="*/ 3065161 h 3065161"/>
              <a:gd name="connsiteX2" fmla="*/ 1203107 w 1203107"/>
              <a:gd name="connsiteY2" fmla="*/ 537322 h 3065161"/>
              <a:gd name="connsiteX3" fmla="*/ 0 w 1203107"/>
              <a:gd name="connsiteY3" fmla="*/ 0 h 3065161"/>
              <a:gd name="connsiteX0" fmla="*/ 0 w 1209457"/>
              <a:gd name="connsiteY0" fmla="*/ 0 h 3065161"/>
              <a:gd name="connsiteX1" fmla="*/ 507597 w 1209457"/>
              <a:gd name="connsiteY1" fmla="*/ 3065161 h 3065161"/>
              <a:gd name="connsiteX2" fmla="*/ 1209457 w 1209457"/>
              <a:gd name="connsiteY2" fmla="*/ 543672 h 3065161"/>
              <a:gd name="connsiteX3" fmla="*/ 0 w 1209457"/>
              <a:gd name="connsiteY3" fmla="*/ 0 h 3065161"/>
              <a:gd name="connsiteX0" fmla="*/ 0 w 1215807"/>
              <a:gd name="connsiteY0" fmla="*/ 0 h 3065161"/>
              <a:gd name="connsiteX1" fmla="*/ 507597 w 1215807"/>
              <a:gd name="connsiteY1" fmla="*/ 3065161 h 3065161"/>
              <a:gd name="connsiteX2" fmla="*/ 1215807 w 1215807"/>
              <a:gd name="connsiteY2" fmla="*/ 537322 h 3065161"/>
              <a:gd name="connsiteX3" fmla="*/ 0 w 1215807"/>
              <a:gd name="connsiteY3" fmla="*/ 0 h 3065161"/>
              <a:gd name="connsiteX0" fmla="*/ 0 w 1209457"/>
              <a:gd name="connsiteY0" fmla="*/ 0 h 3077861"/>
              <a:gd name="connsiteX1" fmla="*/ 501247 w 1209457"/>
              <a:gd name="connsiteY1" fmla="*/ 3077861 h 3077861"/>
              <a:gd name="connsiteX2" fmla="*/ 1209457 w 1209457"/>
              <a:gd name="connsiteY2" fmla="*/ 550022 h 3077861"/>
              <a:gd name="connsiteX3" fmla="*/ 0 w 1209457"/>
              <a:gd name="connsiteY3" fmla="*/ 0 h 3077861"/>
              <a:gd name="connsiteX0" fmla="*/ 0 w 1209457"/>
              <a:gd name="connsiteY0" fmla="*/ 0 h 3091509"/>
              <a:gd name="connsiteX1" fmla="*/ 501247 w 1209457"/>
              <a:gd name="connsiteY1" fmla="*/ 3091509 h 3091509"/>
              <a:gd name="connsiteX2" fmla="*/ 1209457 w 1209457"/>
              <a:gd name="connsiteY2" fmla="*/ 550022 h 3091509"/>
              <a:gd name="connsiteX3" fmla="*/ 0 w 1209457"/>
              <a:gd name="connsiteY3" fmla="*/ 0 h 3091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9457" h="3091509">
                <a:moveTo>
                  <a:pt x="0" y="0"/>
                </a:moveTo>
                <a:lnTo>
                  <a:pt x="501247" y="3091509"/>
                </a:lnTo>
                <a:lnTo>
                  <a:pt x="1209457" y="550022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34000">
                <a:schemeClr val="accent2"/>
              </a:gs>
              <a:gs pos="100000">
                <a:schemeClr val="accent1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7" name="Freeform 26"/>
          <p:cNvSpPr/>
          <p:nvPr userDrawn="1"/>
        </p:nvSpPr>
        <p:spPr>
          <a:xfrm>
            <a:off x="11488254" y="4321334"/>
            <a:ext cx="708319" cy="2552078"/>
          </a:xfrm>
          <a:custGeom>
            <a:avLst/>
            <a:gdLst>
              <a:gd name="connsiteX0" fmla="*/ 691978 w 697728"/>
              <a:gd name="connsiteY0" fmla="*/ 0 h 2520778"/>
              <a:gd name="connsiteX1" fmla="*/ 0 w 697728"/>
              <a:gd name="connsiteY1" fmla="*/ 2520778 h 2520778"/>
              <a:gd name="connsiteX2" fmla="*/ 695509 w 697728"/>
              <a:gd name="connsiteY2" fmla="*/ 2517248 h 2520778"/>
              <a:gd name="connsiteX3" fmla="*/ 691978 w 697728"/>
              <a:gd name="connsiteY3" fmla="*/ 0 h 2520778"/>
              <a:gd name="connsiteX0" fmla="*/ 691978 w 697728"/>
              <a:gd name="connsiteY0" fmla="*/ 0 h 2531370"/>
              <a:gd name="connsiteX1" fmla="*/ 0 w 697728"/>
              <a:gd name="connsiteY1" fmla="*/ 2531370 h 2531370"/>
              <a:gd name="connsiteX2" fmla="*/ 695509 w 697728"/>
              <a:gd name="connsiteY2" fmla="*/ 2517248 h 2531370"/>
              <a:gd name="connsiteX3" fmla="*/ 691978 w 697728"/>
              <a:gd name="connsiteY3" fmla="*/ 0 h 2531370"/>
              <a:gd name="connsiteX0" fmla="*/ 691978 w 703175"/>
              <a:gd name="connsiteY0" fmla="*/ 0 h 2531370"/>
              <a:gd name="connsiteX1" fmla="*/ 0 w 703175"/>
              <a:gd name="connsiteY1" fmla="*/ 2531370 h 2531370"/>
              <a:gd name="connsiteX2" fmla="*/ 702570 w 703175"/>
              <a:gd name="connsiteY2" fmla="*/ 2527839 h 2531370"/>
              <a:gd name="connsiteX3" fmla="*/ 691978 w 703175"/>
              <a:gd name="connsiteY3" fmla="*/ 0 h 2531370"/>
              <a:gd name="connsiteX0" fmla="*/ 691978 w 703175"/>
              <a:gd name="connsiteY0" fmla="*/ 0 h 2531370"/>
              <a:gd name="connsiteX1" fmla="*/ 0 w 703175"/>
              <a:gd name="connsiteY1" fmla="*/ 2531370 h 2531370"/>
              <a:gd name="connsiteX2" fmla="*/ 702570 w 703175"/>
              <a:gd name="connsiteY2" fmla="*/ 2527839 h 2531370"/>
              <a:gd name="connsiteX3" fmla="*/ 691978 w 703175"/>
              <a:gd name="connsiteY3" fmla="*/ 0 h 2531370"/>
              <a:gd name="connsiteX0" fmla="*/ 699039 w 704789"/>
              <a:gd name="connsiteY0" fmla="*/ 0 h 2541962"/>
              <a:gd name="connsiteX1" fmla="*/ 0 w 704789"/>
              <a:gd name="connsiteY1" fmla="*/ 2541962 h 2541962"/>
              <a:gd name="connsiteX2" fmla="*/ 702570 w 704789"/>
              <a:gd name="connsiteY2" fmla="*/ 2538431 h 2541962"/>
              <a:gd name="connsiteX3" fmla="*/ 699039 w 704789"/>
              <a:gd name="connsiteY3" fmla="*/ 0 h 2541962"/>
              <a:gd name="connsiteX0" fmla="*/ 702569 w 708319"/>
              <a:gd name="connsiteY0" fmla="*/ 0 h 2538431"/>
              <a:gd name="connsiteX1" fmla="*/ 0 w 708319"/>
              <a:gd name="connsiteY1" fmla="*/ 2538431 h 2538431"/>
              <a:gd name="connsiteX2" fmla="*/ 706100 w 708319"/>
              <a:gd name="connsiteY2" fmla="*/ 2538431 h 2538431"/>
              <a:gd name="connsiteX3" fmla="*/ 702569 w 708319"/>
              <a:gd name="connsiteY3" fmla="*/ 0 h 2538431"/>
              <a:gd name="connsiteX0" fmla="*/ 667264 w 673014"/>
              <a:gd name="connsiteY0" fmla="*/ 0 h 2538431"/>
              <a:gd name="connsiteX1" fmla="*/ 0 w 673014"/>
              <a:gd name="connsiteY1" fmla="*/ 2252460 h 2538431"/>
              <a:gd name="connsiteX2" fmla="*/ 670795 w 673014"/>
              <a:gd name="connsiteY2" fmla="*/ 2538431 h 2538431"/>
              <a:gd name="connsiteX3" fmla="*/ 667264 w 673014"/>
              <a:gd name="connsiteY3" fmla="*/ 0 h 2538431"/>
              <a:gd name="connsiteX0" fmla="*/ 702569 w 708319"/>
              <a:gd name="connsiteY0" fmla="*/ 0 h 2541961"/>
              <a:gd name="connsiteX1" fmla="*/ 0 w 708319"/>
              <a:gd name="connsiteY1" fmla="*/ 2541961 h 2541961"/>
              <a:gd name="connsiteX2" fmla="*/ 706100 w 708319"/>
              <a:gd name="connsiteY2" fmla="*/ 2538431 h 2541961"/>
              <a:gd name="connsiteX3" fmla="*/ 702569 w 708319"/>
              <a:gd name="connsiteY3" fmla="*/ 0 h 2541961"/>
              <a:gd name="connsiteX0" fmla="*/ 702569 w 708319"/>
              <a:gd name="connsiteY0" fmla="*/ 0 h 2538431"/>
              <a:gd name="connsiteX1" fmla="*/ 0 w 708319"/>
              <a:gd name="connsiteY1" fmla="*/ 2534900 h 2538431"/>
              <a:gd name="connsiteX2" fmla="*/ 706100 w 708319"/>
              <a:gd name="connsiteY2" fmla="*/ 2538431 h 2538431"/>
              <a:gd name="connsiteX3" fmla="*/ 702569 w 708319"/>
              <a:gd name="connsiteY3" fmla="*/ 0 h 2538431"/>
              <a:gd name="connsiteX0" fmla="*/ 702569 w 708319"/>
              <a:gd name="connsiteY0" fmla="*/ 0 h 2548548"/>
              <a:gd name="connsiteX1" fmla="*/ 0 w 708319"/>
              <a:gd name="connsiteY1" fmla="*/ 2548548 h 2548548"/>
              <a:gd name="connsiteX2" fmla="*/ 706100 w 708319"/>
              <a:gd name="connsiteY2" fmla="*/ 2538431 h 2548548"/>
              <a:gd name="connsiteX3" fmla="*/ 702569 w 708319"/>
              <a:gd name="connsiteY3" fmla="*/ 0 h 2548548"/>
              <a:gd name="connsiteX0" fmla="*/ 702569 w 704906"/>
              <a:gd name="connsiteY0" fmla="*/ 0 h 2548548"/>
              <a:gd name="connsiteX1" fmla="*/ 0 w 704906"/>
              <a:gd name="connsiteY1" fmla="*/ 2548548 h 2548548"/>
              <a:gd name="connsiteX2" fmla="*/ 692452 w 704906"/>
              <a:gd name="connsiteY2" fmla="*/ 2538431 h 2548548"/>
              <a:gd name="connsiteX3" fmla="*/ 702569 w 704906"/>
              <a:gd name="connsiteY3" fmla="*/ 0 h 2548548"/>
              <a:gd name="connsiteX0" fmla="*/ 702569 w 708319"/>
              <a:gd name="connsiteY0" fmla="*/ 0 h 2565726"/>
              <a:gd name="connsiteX1" fmla="*/ 0 w 708319"/>
              <a:gd name="connsiteY1" fmla="*/ 2548548 h 2565726"/>
              <a:gd name="connsiteX2" fmla="*/ 706100 w 708319"/>
              <a:gd name="connsiteY2" fmla="*/ 2565726 h 2565726"/>
              <a:gd name="connsiteX3" fmla="*/ 702569 w 708319"/>
              <a:gd name="connsiteY3" fmla="*/ 0 h 2565726"/>
              <a:gd name="connsiteX0" fmla="*/ 702569 w 708319"/>
              <a:gd name="connsiteY0" fmla="*/ 0 h 2552078"/>
              <a:gd name="connsiteX1" fmla="*/ 0 w 708319"/>
              <a:gd name="connsiteY1" fmla="*/ 2548548 h 2552078"/>
              <a:gd name="connsiteX2" fmla="*/ 706100 w 708319"/>
              <a:gd name="connsiteY2" fmla="*/ 2552078 h 2552078"/>
              <a:gd name="connsiteX3" fmla="*/ 702569 w 708319"/>
              <a:gd name="connsiteY3" fmla="*/ 0 h 2552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8319" h="2552078">
                <a:moveTo>
                  <a:pt x="702569" y="0"/>
                </a:moveTo>
                <a:lnTo>
                  <a:pt x="0" y="2548548"/>
                </a:lnTo>
                <a:lnTo>
                  <a:pt x="706100" y="2552078"/>
                </a:lnTo>
                <a:cubicBezTo>
                  <a:pt x="708454" y="1710642"/>
                  <a:pt x="710807" y="834375"/>
                  <a:pt x="702569" y="0"/>
                </a:cubicBezTo>
                <a:close/>
              </a:path>
            </a:pathLst>
          </a:custGeom>
          <a:gradFill>
            <a:gsLst>
              <a:gs pos="21000">
                <a:schemeClr val="accent2"/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8" name="Freeform 27"/>
          <p:cNvSpPr/>
          <p:nvPr userDrawn="1"/>
        </p:nvSpPr>
        <p:spPr>
          <a:xfrm>
            <a:off x="8745794" y="2426110"/>
            <a:ext cx="2263877" cy="4424516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3877" h="4424516">
                <a:moveTo>
                  <a:pt x="958645" y="0"/>
                </a:moveTo>
                <a:lnTo>
                  <a:pt x="2263877" y="1393722"/>
                </a:lnTo>
                <a:lnTo>
                  <a:pt x="0" y="4424516"/>
                </a:lnTo>
                <a:lnTo>
                  <a:pt x="958645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9" name="Freeform 28"/>
          <p:cNvSpPr/>
          <p:nvPr userDrawn="1"/>
        </p:nvSpPr>
        <p:spPr>
          <a:xfrm>
            <a:off x="-1" y="-1"/>
            <a:ext cx="3153403" cy="177371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53403" h="1773715">
                <a:moveTo>
                  <a:pt x="0" y="0"/>
                </a:moveTo>
                <a:lnTo>
                  <a:pt x="1036790" y="1773715"/>
                </a:lnTo>
                <a:lnTo>
                  <a:pt x="3153403" y="177113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0" name="Freeform 29"/>
          <p:cNvSpPr/>
          <p:nvPr userDrawn="1"/>
        </p:nvSpPr>
        <p:spPr>
          <a:xfrm>
            <a:off x="-2381" y="-1"/>
            <a:ext cx="3112998" cy="178606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  <a:gd name="connsiteX0" fmla="*/ 0 w 3081965"/>
              <a:gd name="connsiteY0" fmla="*/ 0 h 1775900"/>
              <a:gd name="connsiteX1" fmla="*/ 1036790 w 3081965"/>
              <a:gd name="connsiteY1" fmla="*/ 1773715 h 1775900"/>
              <a:gd name="connsiteX2" fmla="*/ 3081965 w 3081965"/>
              <a:gd name="connsiteY2" fmla="*/ 1775900 h 1775900"/>
              <a:gd name="connsiteX3" fmla="*/ 0 w 3081965"/>
              <a:gd name="connsiteY3" fmla="*/ 0 h 1775900"/>
              <a:gd name="connsiteX0" fmla="*/ 0 w 3086728"/>
              <a:gd name="connsiteY0" fmla="*/ 0 h 1775900"/>
              <a:gd name="connsiteX1" fmla="*/ 1036790 w 3086728"/>
              <a:gd name="connsiteY1" fmla="*/ 1773715 h 1775900"/>
              <a:gd name="connsiteX2" fmla="*/ 3086728 w 3086728"/>
              <a:gd name="connsiteY2" fmla="*/ 1775900 h 1775900"/>
              <a:gd name="connsiteX3" fmla="*/ 0 w 3086728"/>
              <a:gd name="connsiteY3" fmla="*/ 0 h 1775900"/>
              <a:gd name="connsiteX0" fmla="*/ 0 w 3091491"/>
              <a:gd name="connsiteY0" fmla="*/ 0 h 1799713"/>
              <a:gd name="connsiteX1" fmla="*/ 1036790 w 3091491"/>
              <a:gd name="connsiteY1" fmla="*/ 1773715 h 1799713"/>
              <a:gd name="connsiteX2" fmla="*/ 3091491 w 3091491"/>
              <a:gd name="connsiteY2" fmla="*/ 1799713 h 1799713"/>
              <a:gd name="connsiteX3" fmla="*/ 0 w 3091491"/>
              <a:gd name="connsiteY3" fmla="*/ 0 h 1799713"/>
              <a:gd name="connsiteX0" fmla="*/ 0 w 3120066"/>
              <a:gd name="connsiteY0" fmla="*/ 0 h 1799713"/>
              <a:gd name="connsiteX1" fmla="*/ 1036790 w 3120066"/>
              <a:gd name="connsiteY1" fmla="*/ 1773715 h 1799713"/>
              <a:gd name="connsiteX2" fmla="*/ 3120066 w 3120066"/>
              <a:gd name="connsiteY2" fmla="*/ 1799713 h 1799713"/>
              <a:gd name="connsiteX3" fmla="*/ 0 w 3120066"/>
              <a:gd name="connsiteY3" fmla="*/ 0 h 1799713"/>
              <a:gd name="connsiteX0" fmla="*/ 0 w 3120066"/>
              <a:gd name="connsiteY0" fmla="*/ 0 h 1799713"/>
              <a:gd name="connsiteX1" fmla="*/ 1019730 w 3120066"/>
              <a:gd name="connsiteY1" fmla="*/ 1773715 h 1799713"/>
              <a:gd name="connsiteX2" fmla="*/ 3120066 w 3120066"/>
              <a:gd name="connsiteY2" fmla="*/ 1799713 h 1799713"/>
              <a:gd name="connsiteX3" fmla="*/ 0 w 3120066"/>
              <a:gd name="connsiteY3" fmla="*/ 0 h 1799713"/>
              <a:gd name="connsiteX0" fmla="*/ 0 w 3133714"/>
              <a:gd name="connsiteY0" fmla="*/ 0 h 1799713"/>
              <a:gd name="connsiteX1" fmla="*/ 1033378 w 3133714"/>
              <a:gd name="connsiteY1" fmla="*/ 1773715 h 1799713"/>
              <a:gd name="connsiteX2" fmla="*/ 3133714 w 3133714"/>
              <a:gd name="connsiteY2" fmla="*/ 1799713 h 1799713"/>
              <a:gd name="connsiteX3" fmla="*/ 0 w 3133714"/>
              <a:gd name="connsiteY3" fmla="*/ 0 h 1799713"/>
              <a:gd name="connsiteX0" fmla="*/ 0 w 3140538"/>
              <a:gd name="connsiteY0" fmla="*/ 0 h 1799713"/>
              <a:gd name="connsiteX1" fmla="*/ 1040202 w 3140538"/>
              <a:gd name="connsiteY1" fmla="*/ 1773715 h 1799713"/>
              <a:gd name="connsiteX2" fmla="*/ 3140538 w 3140538"/>
              <a:gd name="connsiteY2" fmla="*/ 1799713 h 1799713"/>
              <a:gd name="connsiteX3" fmla="*/ 0 w 3140538"/>
              <a:gd name="connsiteY3" fmla="*/ 0 h 1799713"/>
              <a:gd name="connsiteX0" fmla="*/ 0 w 3126890"/>
              <a:gd name="connsiteY0" fmla="*/ 0 h 1786065"/>
              <a:gd name="connsiteX1" fmla="*/ 1040202 w 3126890"/>
              <a:gd name="connsiteY1" fmla="*/ 1773715 h 1786065"/>
              <a:gd name="connsiteX2" fmla="*/ 3126890 w 3126890"/>
              <a:gd name="connsiteY2" fmla="*/ 1786065 h 1786065"/>
              <a:gd name="connsiteX3" fmla="*/ 0 w 3126890"/>
              <a:gd name="connsiteY3" fmla="*/ 0 h 1786065"/>
              <a:gd name="connsiteX0" fmla="*/ 0 w 3113242"/>
              <a:gd name="connsiteY0" fmla="*/ 0 h 1782653"/>
              <a:gd name="connsiteX1" fmla="*/ 1026554 w 3113242"/>
              <a:gd name="connsiteY1" fmla="*/ 1770303 h 1782653"/>
              <a:gd name="connsiteX2" fmla="*/ 3113242 w 3113242"/>
              <a:gd name="connsiteY2" fmla="*/ 1782653 h 1782653"/>
              <a:gd name="connsiteX3" fmla="*/ 0 w 3113242"/>
              <a:gd name="connsiteY3" fmla="*/ 0 h 1782653"/>
              <a:gd name="connsiteX0" fmla="*/ 0 w 3123478"/>
              <a:gd name="connsiteY0" fmla="*/ 0 h 1782653"/>
              <a:gd name="connsiteX1" fmla="*/ 1036790 w 3123478"/>
              <a:gd name="connsiteY1" fmla="*/ 1770303 h 1782653"/>
              <a:gd name="connsiteX2" fmla="*/ 3123478 w 3123478"/>
              <a:gd name="connsiteY2" fmla="*/ 1782653 h 1782653"/>
              <a:gd name="connsiteX3" fmla="*/ 0 w 3123478"/>
              <a:gd name="connsiteY3" fmla="*/ 0 h 1782653"/>
              <a:gd name="connsiteX0" fmla="*/ 0 w 3109830"/>
              <a:gd name="connsiteY0" fmla="*/ 0 h 1782653"/>
              <a:gd name="connsiteX1" fmla="*/ 1036790 w 3109830"/>
              <a:gd name="connsiteY1" fmla="*/ 1770303 h 1782653"/>
              <a:gd name="connsiteX2" fmla="*/ 3109830 w 3109830"/>
              <a:gd name="connsiteY2" fmla="*/ 1782653 h 1782653"/>
              <a:gd name="connsiteX3" fmla="*/ 0 w 3109830"/>
              <a:gd name="connsiteY3" fmla="*/ 0 h 1782653"/>
              <a:gd name="connsiteX0" fmla="*/ 0 w 3120462"/>
              <a:gd name="connsiteY0" fmla="*/ 0 h 1793286"/>
              <a:gd name="connsiteX1" fmla="*/ 1047422 w 3120462"/>
              <a:gd name="connsiteY1" fmla="*/ 1780936 h 1793286"/>
              <a:gd name="connsiteX2" fmla="*/ 3120462 w 3120462"/>
              <a:gd name="connsiteY2" fmla="*/ 1793286 h 1793286"/>
              <a:gd name="connsiteX3" fmla="*/ 0 w 3120462"/>
              <a:gd name="connsiteY3" fmla="*/ 0 h 1793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20462" h="1793286">
                <a:moveTo>
                  <a:pt x="0" y="0"/>
                </a:moveTo>
                <a:lnTo>
                  <a:pt x="1047422" y="1780936"/>
                </a:lnTo>
                <a:lnTo>
                  <a:pt x="3120462" y="179328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9000">
                <a:schemeClr val="accent2"/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1" name="Freeform 30"/>
          <p:cNvSpPr/>
          <p:nvPr userDrawn="1"/>
        </p:nvSpPr>
        <p:spPr>
          <a:xfrm>
            <a:off x="-3295" y="1769807"/>
            <a:ext cx="1407341" cy="5098422"/>
          </a:xfrm>
          <a:custGeom>
            <a:avLst/>
            <a:gdLst>
              <a:gd name="connsiteX0" fmla="*/ 1026488 w 1398147"/>
              <a:gd name="connsiteY0" fmla="*/ 0 h 5073445"/>
              <a:gd name="connsiteX1" fmla="*/ 1398147 w 1398147"/>
              <a:gd name="connsiteY1" fmla="*/ 1875995 h 5073445"/>
              <a:gd name="connsiteX2" fmla="*/ 0 w 1398147"/>
              <a:gd name="connsiteY2" fmla="*/ 5073445 h 5073445"/>
              <a:gd name="connsiteX3" fmla="*/ 1026488 w 1398147"/>
              <a:gd name="connsiteY3" fmla="*/ 0 h 5073445"/>
              <a:gd name="connsiteX0" fmla="*/ 1032388 w 1398147"/>
              <a:gd name="connsiteY0" fmla="*/ 0 h 5055747"/>
              <a:gd name="connsiteX1" fmla="*/ 1398147 w 1398147"/>
              <a:gd name="connsiteY1" fmla="*/ 1858297 h 5055747"/>
              <a:gd name="connsiteX2" fmla="*/ 0 w 1398147"/>
              <a:gd name="connsiteY2" fmla="*/ 5055747 h 5055747"/>
              <a:gd name="connsiteX3" fmla="*/ 1032388 w 1398147"/>
              <a:gd name="connsiteY3" fmla="*/ 0 h 5055747"/>
              <a:gd name="connsiteX0" fmla="*/ 1032388 w 1398147"/>
              <a:gd name="connsiteY0" fmla="*/ 0 h 5061646"/>
              <a:gd name="connsiteX1" fmla="*/ 1398147 w 1398147"/>
              <a:gd name="connsiteY1" fmla="*/ 1864196 h 5061646"/>
              <a:gd name="connsiteX2" fmla="*/ 0 w 1398147"/>
              <a:gd name="connsiteY2" fmla="*/ 5061646 h 5061646"/>
              <a:gd name="connsiteX3" fmla="*/ 1032388 w 1398147"/>
              <a:gd name="connsiteY3" fmla="*/ 0 h 5061646"/>
              <a:gd name="connsiteX0" fmla="*/ 1032388 w 1398147"/>
              <a:gd name="connsiteY0" fmla="*/ 0 h 5079344"/>
              <a:gd name="connsiteX1" fmla="*/ 1398147 w 1398147"/>
              <a:gd name="connsiteY1" fmla="*/ 1881894 h 5079344"/>
              <a:gd name="connsiteX2" fmla="*/ 0 w 1398147"/>
              <a:gd name="connsiteY2" fmla="*/ 5079344 h 5079344"/>
              <a:gd name="connsiteX3" fmla="*/ 1032388 w 1398147"/>
              <a:gd name="connsiteY3" fmla="*/ 0 h 5079344"/>
              <a:gd name="connsiteX0" fmla="*/ 1032388 w 1398147"/>
              <a:gd name="connsiteY0" fmla="*/ 0 h 5089936"/>
              <a:gd name="connsiteX1" fmla="*/ 1398147 w 1398147"/>
              <a:gd name="connsiteY1" fmla="*/ 1881894 h 5089936"/>
              <a:gd name="connsiteX2" fmla="*/ 0 w 1398147"/>
              <a:gd name="connsiteY2" fmla="*/ 5089936 h 5089936"/>
              <a:gd name="connsiteX3" fmla="*/ 1032388 w 1398147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81894 h 5089936"/>
              <a:gd name="connsiteX2" fmla="*/ 0 w 1405209"/>
              <a:gd name="connsiteY2" fmla="*/ 5089936 h 5089936"/>
              <a:gd name="connsiteX3" fmla="*/ 1039450 w 1405209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91419 h 5089936"/>
              <a:gd name="connsiteX2" fmla="*/ 0 w 1405209"/>
              <a:gd name="connsiteY2" fmla="*/ 5089936 h 5089936"/>
              <a:gd name="connsiteX3" fmla="*/ 1039450 w 1405209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91419 h 5089936"/>
              <a:gd name="connsiteX2" fmla="*/ 0 w 1405209"/>
              <a:gd name="connsiteY2" fmla="*/ 5089936 h 5089936"/>
              <a:gd name="connsiteX3" fmla="*/ 8890 w 1405209"/>
              <a:gd name="connsiteY3" fmla="*/ 5081754 h 5089936"/>
              <a:gd name="connsiteX4" fmla="*/ 1039450 w 1405209"/>
              <a:gd name="connsiteY4" fmla="*/ 0 h 5089936"/>
              <a:gd name="connsiteX0" fmla="*/ 1041582 w 1407341"/>
              <a:gd name="connsiteY0" fmla="*/ 0 h 5098422"/>
              <a:gd name="connsiteX1" fmla="*/ 1407341 w 1407341"/>
              <a:gd name="connsiteY1" fmla="*/ 1891419 h 5098422"/>
              <a:gd name="connsiteX2" fmla="*/ 2132 w 1407341"/>
              <a:gd name="connsiteY2" fmla="*/ 5089936 h 5098422"/>
              <a:gd name="connsiteX3" fmla="*/ 719 w 1407341"/>
              <a:gd name="connsiteY3" fmla="*/ 5097208 h 5098422"/>
              <a:gd name="connsiteX4" fmla="*/ 1041582 w 1407341"/>
              <a:gd name="connsiteY4" fmla="*/ 0 h 5098422"/>
              <a:gd name="connsiteX0" fmla="*/ 1034758 w 1407341"/>
              <a:gd name="connsiteY0" fmla="*/ 0 h 5098422"/>
              <a:gd name="connsiteX1" fmla="*/ 1407341 w 1407341"/>
              <a:gd name="connsiteY1" fmla="*/ 1891419 h 5098422"/>
              <a:gd name="connsiteX2" fmla="*/ 2132 w 1407341"/>
              <a:gd name="connsiteY2" fmla="*/ 5089936 h 5098422"/>
              <a:gd name="connsiteX3" fmla="*/ 719 w 1407341"/>
              <a:gd name="connsiteY3" fmla="*/ 5097208 h 5098422"/>
              <a:gd name="connsiteX4" fmla="*/ 1034758 w 1407341"/>
              <a:gd name="connsiteY4" fmla="*/ 0 h 5098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7341" h="5098422">
                <a:moveTo>
                  <a:pt x="1034758" y="0"/>
                </a:moveTo>
                <a:lnTo>
                  <a:pt x="1407341" y="1891419"/>
                </a:lnTo>
                <a:lnTo>
                  <a:pt x="2132" y="5089936"/>
                </a:lnTo>
                <a:cubicBezTo>
                  <a:pt x="5095" y="5083774"/>
                  <a:pt x="-2244" y="5103370"/>
                  <a:pt x="719" y="5097208"/>
                </a:cubicBezTo>
                <a:lnTo>
                  <a:pt x="1034758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76000">
                <a:schemeClr val="accent1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2" name="Freeform 31"/>
          <p:cNvSpPr/>
          <p:nvPr userDrawn="1"/>
        </p:nvSpPr>
        <p:spPr>
          <a:xfrm>
            <a:off x="8694845" y="2426110"/>
            <a:ext cx="2293341" cy="4440419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  <a:gd name="connsiteX0" fmla="*/ 958645 w 2269487"/>
              <a:gd name="connsiteY0" fmla="*/ 0 h 4424516"/>
              <a:gd name="connsiteX1" fmla="*/ 2269487 w 2269487"/>
              <a:gd name="connsiteY1" fmla="*/ 1388112 h 4424516"/>
              <a:gd name="connsiteX2" fmla="*/ 0 w 2269487"/>
              <a:gd name="connsiteY2" fmla="*/ 4424516 h 4424516"/>
              <a:gd name="connsiteX3" fmla="*/ 958645 w 2269487"/>
              <a:gd name="connsiteY3" fmla="*/ 0 h 4424516"/>
              <a:gd name="connsiteX0" fmla="*/ 982499 w 2293341"/>
              <a:gd name="connsiteY0" fmla="*/ 0 h 4440419"/>
              <a:gd name="connsiteX1" fmla="*/ 2293341 w 2293341"/>
              <a:gd name="connsiteY1" fmla="*/ 1388112 h 4440419"/>
              <a:gd name="connsiteX2" fmla="*/ 0 w 2293341"/>
              <a:gd name="connsiteY2" fmla="*/ 4440419 h 4440419"/>
              <a:gd name="connsiteX3" fmla="*/ 982499 w 2293341"/>
              <a:gd name="connsiteY3" fmla="*/ 0 h 4440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3341" h="4440419">
                <a:moveTo>
                  <a:pt x="982499" y="0"/>
                </a:moveTo>
                <a:lnTo>
                  <a:pt x="2293341" y="1388112"/>
                </a:lnTo>
                <a:lnTo>
                  <a:pt x="0" y="4440419"/>
                </a:lnTo>
                <a:lnTo>
                  <a:pt x="982499" y="0"/>
                </a:lnTo>
                <a:close/>
              </a:path>
            </a:pathLst>
          </a:custGeom>
          <a:gradFill>
            <a:gsLst>
              <a:gs pos="34000">
                <a:schemeClr val="accent2"/>
              </a:gs>
              <a:gs pos="100000">
                <a:schemeClr val="accent1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3" name="Freeform 32"/>
          <p:cNvSpPr/>
          <p:nvPr userDrawn="1"/>
        </p:nvSpPr>
        <p:spPr>
          <a:xfrm>
            <a:off x="9669015" y="1094096"/>
            <a:ext cx="2522985" cy="2734954"/>
          </a:xfrm>
          <a:custGeom>
            <a:avLst/>
            <a:gdLst>
              <a:gd name="connsiteX0" fmla="*/ 2481262 w 2481262"/>
              <a:gd name="connsiteY0" fmla="*/ 0 h 2762250"/>
              <a:gd name="connsiteX1" fmla="*/ 0 w 2481262"/>
              <a:gd name="connsiteY1" fmla="*/ 1371600 h 2762250"/>
              <a:gd name="connsiteX2" fmla="*/ 1309687 w 2481262"/>
              <a:gd name="connsiteY2" fmla="*/ 2762250 h 2762250"/>
              <a:gd name="connsiteX3" fmla="*/ 2481262 w 2481262"/>
              <a:gd name="connsiteY3" fmla="*/ 0 h 2762250"/>
              <a:gd name="connsiteX0" fmla="*/ 2481262 w 2481262"/>
              <a:gd name="connsiteY0" fmla="*/ 0 h 2762250"/>
              <a:gd name="connsiteX1" fmla="*/ 0 w 2481262"/>
              <a:gd name="connsiteY1" fmla="*/ 1371600 h 2762250"/>
              <a:gd name="connsiteX2" fmla="*/ 1292857 w 2481262"/>
              <a:gd name="connsiteY2" fmla="*/ 2762250 h 2762250"/>
              <a:gd name="connsiteX3" fmla="*/ 2481262 w 2481262"/>
              <a:gd name="connsiteY3" fmla="*/ 0 h 2762250"/>
              <a:gd name="connsiteX0" fmla="*/ 2509311 w 2509311"/>
              <a:gd name="connsiteY0" fmla="*/ 0 h 2762250"/>
              <a:gd name="connsiteX1" fmla="*/ 0 w 2509311"/>
              <a:gd name="connsiteY1" fmla="*/ 1354771 h 2762250"/>
              <a:gd name="connsiteX2" fmla="*/ 1320906 w 2509311"/>
              <a:gd name="connsiteY2" fmla="*/ 2762250 h 2762250"/>
              <a:gd name="connsiteX3" fmla="*/ 2509311 w 2509311"/>
              <a:gd name="connsiteY3" fmla="*/ 0 h 2762250"/>
              <a:gd name="connsiteX0" fmla="*/ 2519943 w 2519943"/>
              <a:gd name="connsiteY0" fmla="*/ 0 h 2762250"/>
              <a:gd name="connsiteX1" fmla="*/ 0 w 2519943"/>
              <a:gd name="connsiteY1" fmla="*/ 1354771 h 2762250"/>
              <a:gd name="connsiteX2" fmla="*/ 1320906 w 2519943"/>
              <a:gd name="connsiteY2" fmla="*/ 2762250 h 2762250"/>
              <a:gd name="connsiteX3" fmla="*/ 2519943 w 2519943"/>
              <a:gd name="connsiteY3" fmla="*/ 0 h 2762250"/>
              <a:gd name="connsiteX0" fmla="*/ 2530575 w 2530575"/>
              <a:gd name="connsiteY0" fmla="*/ 0 h 2762250"/>
              <a:gd name="connsiteX1" fmla="*/ 0 w 2530575"/>
              <a:gd name="connsiteY1" fmla="*/ 1354771 h 2762250"/>
              <a:gd name="connsiteX2" fmla="*/ 1320906 w 2530575"/>
              <a:gd name="connsiteY2" fmla="*/ 2762250 h 2762250"/>
              <a:gd name="connsiteX3" fmla="*/ 2530575 w 2530575"/>
              <a:gd name="connsiteY3" fmla="*/ 0 h 276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30575" h="2762250">
                <a:moveTo>
                  <a:pt x="2530575" y="0"/>
                </a:moveTo>
                <a:lnTo>
                  <a:pt x="0" y="1354771"/>
                </a:lnTo>
                <a:lnTo>
                  <a:pt x="1320906" y="2762250"/>
                </a:lnTo>
                <a:lnTo>
                  <a:pt x="2530575" y="0"/>
                </a:ln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4" name="Freeform 33"/>
          <p:cNvSpPr/>
          <p:nvPr userDrawn="1"/>
        </p:nvSpPr>
        <p:spPr>
          <a:xfrm>
            <a:off x="3317358" y="-5316"/>
            <a:ext cx="4354033" cy="1222744"/>
          </a:xfrm>
          <a:custGeom>
            <a:avLst/>
            <a:gdLst>
              <a:gd name="connsiteX0" fmla="*/ 0 w 4354033"/>
              <a:gd name="connsiteY0" fmla="*/ 0 h 1217428"/>
              <a:gd name="connsiteX1" fmla="*/ 3067493 w 4354033"/>
              <a:gd name="connsiteY1" fmla="*/ 10632 h 1217428"/>
              <a:gd name="connsiteX2" fmla="*/ 4354033 w 4354033"/>
              <a:gd name="connsiteY2" fmla="*/ 1217428 h 1217428"/>
              <a:gd name="connsiteX3" fmla="*/ 0 w 4354033"/>
              <a:gd name="connsiteY3" fmla="*/ 0 h 1217428"/>
              <a:gd name="connsiteX0" fmla="*/ 0 w 4354033"/>
              <a:gd name="connsiteY0" fmla="*/ 0 h 1217428"/>
              <a:gd name="connsiteX1" fmla="*/ 3088758 w 4354033"/>
              <a:gd name="connsiteY1" fmla="*/ 10632 h 1217428"/>
              <a:gd name="connsiteX2" fmla="*/ 4354033 w 4354033"/>
              <a:gd name="connsiteY2" fmla="*/ 1217428 h 1217428"/>
              <a:gd name="connsiteX3" fmla="*/ 0 w 4354033"/>
              <a:gd name="connsiteY3" fmla="*/ 0 h 1217428"/>
              <a:gd name="connsiteX0" fmla="*/ 0 w 4375298"/>
              <a:gd name="connsiteY0" fmla="*/ 0 h 1217428"/>
              <a:gd name="connsiteX1" fmla="*/ 3088758 w 4375298"/>
              <a:gd name="connsiteY1" fmla="*/ 10632 h 1217428"/>
              <a:gd name="connsiteX2" fmla="*/ 4375298 w 4375298"/>
              <a:gd name="connsiteY2" fmla="*/ 1217428 h 1217428"/>
              <a:gd name="connsiteX3" fmla="*/ 0 w 4375298"/>
              <a:gd name="connsiteY3" fmla="*/ 0 h 1217428"/>
              <a:gd name="connsiteX0" fmla="*/ 0 w 4364666"/>
              <a:gd name="connsiteY0" fmla="*/ 0 h 1217428"/>
              <a:gd name="connsiteX1" fmla="*/ 3088758 w 4364666"/>
              <a:gd name="connsiteY1" fmla="*/ 10632 h 1217428"/>
              <a:gd name="connsiteX2" fmla="*/ 4364666 w 4364666"/>
              <a:gd name="connsiteY2" fmla="*/ 1217428 h 1217428"/>
              <a:gd name="connsiteX3" fmla="*/ 0 w 4364666"/>
              <a:gd name="connsiteY3" fmla="*/ 0 h 1217428"/>
              <a:gd name="connsiteX0" fmla="*/ 0 w 4354033"/>
              <a:gd name="connsiteY0" fmla="*/ 0 h 1222744"/>
              <a:gd name="connsiteX1" fmla="*/ 3088758 w 4354033"/>
              <a:gd name="connsiteY1" fmla="*/ 10632 h 1222744"/>
              <a:gd name="connsiteX2" fmla="*/ 4354033 w 4354033"/>
              <a:gd name="connsiteY2" fmla="*/ 1222744 h 1222744"/>
              <a:gd name="connsiteX3" fmla="*/ 0 w 4354033"/>
              <a:gd name="connsiteY3" fmla="*/ 0 h 1222744"/>
              <a:gd name="connsiteX0" fmla="*/ 0 w 4354033"/>
              <a:gd name="connsiteY0" fmla="*/ 5317 h 1228061"/>
              <a:gd name="connsiteX1" fmla="*/ 3083442 w 4354033"/>
              <a:gd name="connsiteY1" fmla="*/ 0 h 1228061"/>
              <a:gd name="connsiteX2" fmla="*/ 4354033 w 4354033"/>
              <a:gd name="connsiteY2" fmla="*/ 1228061 h 1228061"/>
              <a:gd name="connsiteX3" fmla="*/ 0 w 4354033"/>
              <a:gd name="connsiteY3" fmla="*/ 5317 h 1228061"/>
              <a:gd name="connsiteX0" fmla="*/ 0 w 4354033"/>
              <a:gd name="connsiteY0" fmla="*/ 0 h 1222744"/>
              <a:gd name="connsiteX1" fmla="*/ 3094074 w 4354033"/>
              <a:gd name="connsiteY1" fmla="*/ 5315 h 1222744"/>
              <a:gd name="connsiteX2" fmla="*/ 4354033 w 4354033"/>
              <a:gd name="connsiteY2" fmla="*/ 1222744 h 1222744"/>
              <a:gd name="connsiteX3" fmla="*/ 0 w 4354033"/>
              <a:gd name="connsiteY3" fmla="*/ 0 h 122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54033" h="1222744">
                <a:moveTo>
                  <a:pt x="0" y="0"/>
                </a:moveTo>
                <a:lnTo>
                  <a:pt x="3094074" y="5315"/>
                </a:lnTo>
                <a:lnTo>
                  <a:pt x="4354033" y="122274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Freeform 34"/>
          <p:cNvSpPr/>
          <p:nvPr userDrawn="1"/>
        </p:nvSpPr>
        <p:spPr>
          <a:xfrm>
            <a:off x="8690615" y="3783805"/>
            <a:ext cx="2797640" cy="3086077"/>
          </a:xfrm>
          <a:custGeom>
            <a:avLst/>
            <a:gdLst>
              <a:gd name="connsiteX0" fmla="*/ 2270113 w 2753791"/>
              <a:gd name="connsiteY0" fmla="*/ 0 h 3029171"/>
              <a:gd name="connsiteX1" fmla="*/ 0 w 2753791"/>
              <a:gd name="connsiteY1" fmla="*/ 3025640 h 3029171"/>
              <a:gd name="connsiteX2" fmla="*/ 2753791 w 2753791"/>
              <a:gd name="connsiteY2" fmla="*/ 3029171 h 3029171"/>
              <a:gd name="connsiteX3" fmla="*/ 2270113 w 2753791"/>
              <a:gd name="connsiteY3" fmla="*/ 0 h 3029171"/>
              <a:gd name="connsiteX0" fmla="*/ 2247810 w 2753791"/>
              <a:gd name="connsiteY0" fmla="*/ 0 h 3073776"/>
              <a:gd name="connsiteX1" fmla="*/ 0 w 2753791"/>
              <a:gd name="connsiteY1" fmla="*/ 3070245 h 3073776"/>
              <a:gd name="connsiteX2" fmla="*/ 2753791 w 2753791"/>
              <a:gd name="connsiteY2" fmla="*/ 3073776 h 3073776"/>
              <a:gd name="connsiteX3" fmla="*/ 2247810 w 2753791"/>
              <a:gd name="connsiteY3" fmla="*/ 0 h 3073776"/>
              <a:gd name="connsiteX0" fmla="*/ 2311420 w 2817401"/>
              <a:gd name="connsiteY0" fmla="*/ 0 h 3073776"/>
              <a:gd name="connsiteX1" fmla="*/ 0 w 2817401"/>
              <a:gd name="connsiteY1" fmla="*/ 3062294 h 3073776"/>
              <a:gd name="connsiteX2" fmla="*/ 2817401 w 2817401"/>
              <a:gd name="connsiteY2" fmla="*/ 3073776 h 3073776"/>
              <a:gd name="connsiteX3" fmla="*/ 2311420 w 2817401"/>
              <a:gd name="connsiteY3" fmla="*/ 0 h 3073776"/>
              <a:gd name="connsiteX0" fmla="*/ 2311420 w 2817401"/>
              <a:gd name="connsiteY0" fmla="*/ 0 h 3089589"/>
              <a:gd name="connsiteX1" fmla="*/ 0 w 2817401"/>
              <a:gd name="connsiteY1" fmla="*/ 3089589 h 3089589"/>
              <a:gd name="connsiteX2" fmla="*/ 2817401 w 2817401"/>
              <a:gd name="connsiteY2" fmla="*/ 3073776 h 3089589"/>
              <a:gd name="connsiteX3" fmla="*/ 2311420 w 2817401"/>
              <a:gd name="connsiteY3" fmla="*/ 0 h 3089589"/>
              <a:gd name="connsiteX0" fmla="*/ 2306657 w 2812638"/>
              <a:gd name="connsiteY0" fmla="*/ 0 h 3089589"/>
              <a:gd name="connsiteX1" fmla="*/ 0 w 2812638"/>
              <a:gd name="connsiteY1" fmla="*/ 3089589 h 3089589"/>
              <a:gd name="connsiteX2" fmla="*/ 2812638 w 2812638"/>
              <a:gd name="connsiteY2" fmla="*/ 3073776 h 3089589"/>
              <a:gd name="connsiteX3" fmla="*/ 2306657 w 2812638"/>
              <a:gd name="connsiteY3" fmla="*/ 0 h 3089589"/>
              <a:gd name="connsiteX0" fmla="*/ 2306657 w 2812638"/>
              <a:gd name="connsiteY0" fmla="*/ 0 h 3084826"/>
              <a:gd name="connsiteX1" fmla="*/ 0 w 2812638"/>
              <a:gd name="connsiteY1" fmla="*/ 3084826 h 3084826"/>
              <a:gd name="connsiteX2" fmla="*/ 2812638 w 2812638"/>
              <a:gd name="connsiteY2" fmla="*/ 3073776 h 3084826"/>
              <a:gd name="connsiteX3" fmla="*/ 2306657 w 2812638"/>
              <a:gd name="connsiteY3" fmla="*/ 0 h 3084826"/>
              <a:gd name="connsiteX0" fmla="*/ 2292370 w 2798351"/>
              <a:gd name="connsiteY0" fmla="*/ 0 h 3084826"/>
              <a:gd name="connsiteX1" fmla="*/ 0 w 2798351"/>
              <a:gd name="connsiteY1" fmla="*/ 3084826 h 3084826"/>
              <a:gd name="connsiteX2" fmla="*/ 2798351 w 2798351"/>
              <a:gd name="connsiteY2" fmla="*/ 3073776 h 3084826"/>
              <a:gd name="connsiteX3" fmla="*/ 2292370 w 2798351"/>
              <a:gd name="connsiteY3" fmla="*/ 0 h 3084826"/>
              <a:gd name="connsiteX0" fmla="*/ 22987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298720 w 2804701"/>
              <a:gd name="connsiteY3" fmla="*/ 0 h 3084826"/>
              <a:gd name="connsiteX0" fmla="*/ 22987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298720 w 2804701"/>
              <a:gd name="connsiteY3" fmla="*/ 0 h 3084826"/>
              <a:gd name="connsiteX0" fmla="*/ 23114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311420 w 2804701"/>
              <a:gd name="connsiteY3" fmla="*/ 0 h 3084826"/>
              <a:gd name="connsiteX0" fmla="*/ 2311420 w 2804701"/>
              <a:gd name="connsiteY0" fmla="*/ 0 h 3087424"/>
              <a:gd name="connsiteX1" fmla="*/ 0 w 2804701"/>
              <a:gd name="connsiteY1" fmla="*/ 3084826 h 3087424"/>
              <a:gd name="connsiteX2" fmla="*/ 2804701 w 2804701"/>
              <a:gd name="connsiteY2" fmla="*/ 3087424 h 3087424"/>
              <a:gd name="connsiteX3" fmla="*/ 2311420 w 2804701"/>
              <a:gd name="connsiteY3" fmla="*/ 0 h 3087424"/>
              <a:gd name="connsiteX0" fmla="*/ 2311420 w 2818349"/>
              <a:gd name="connsiteY0" fmla="*/ 0 h 3087424"/>
              <a:gd name="connsiteX1" fmla="*/ 0 w 2818349"/>
              <a:gd name="connsiteY1" fmla="*/ 3084826 h 3087424"/>
              <a:gd name="connsiteX2" fmla="*/ 2818349 w 2818349"/>
              <a:gd name="connsiteY2" fmla="*/ 3087424 h 3087424"/>
              <a:gd name="connsiteX3" fmla="*/ 2311420 w 2818349"/>
              <a:gd name="connsiteY3" fmla="*/ 0 h 3087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8349" h="3087424">
                <a:moveTo>
                  <a:pt x="2311420" y="0"/>
                </a:moveTo>
                <a:lnTo>
                  <a:pt x="0" y="3084826"/>
                </a:lnTo>
                <a:lnTo>
                  <a:pt x="2818349" y="3087424"/>
                </a:lnTo>
                <a:lnTo>
                  <a:pt x="2311420" y="0"/>
                </a:lnTo>
                <a:close/>
              </a:path>
            </a:pathLst>
          </a:custGeom>
          <a:gradFill>
            <a:gsLst>
              <a:gs pos="11000">
                <a:schemeClr val="accent2"/>
              </a:gs>
              <a:gs pos="78000">
                <a:schemeClr val="accent1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6" name="Freeform 35"/>
          <p:cNvSpPr/>
          <p:nvPr userDrawn="1"/>
        </p:nvSpPr>
        <p:spPr>
          <a:xfrm>
            <a:off x="7660347" y="1094096"/>
            <a:ext cx="4531653" cy="1344304"/>
          </a:xfrm>
          <a:custGeom>
            <a:avLst/>
            <a:gdLst>
              <a:gd name="connsiteX0" fmla="*/ 0 w 4533900"/>
              <a:gd name="connsiteY0" fmla="*/ 142875 h 1371600"/>
              <a:gd name="connsiteX1" fmla="*/ 4533900 w 4533900"/>
              <a:gd name="connsiteY1" fmla="*/ 0 h 1371600"/>
              <a:gd name="connsiteX2" fmla="*/ 2043113 w 4533900"/>
              <a:gd name="connsiteY2" fmla="*/ 1371600 h 1371600"/>
              <a:gd name="connsiteX3" fmla="*/ 0 w 4533900"/>
              <a:gd name="connsiteY3" fmla="*/ 142875 h 1371600"/>
              <a:gd name="connsiteX0" fmla="*/ 0 w 4533900"/>
              <a:gd name="connsiteY0" fmla="*/ 142875 h 1371600"/>
              <a:gd name="connsiteX1" fmla="*/ 4533900 w 4533900"/>
              <a:gd name="connsiteY1" fmla="*/ 0 h 1371600"/>
              <a:gd name="connsiteX2" fmla="*/ 2021848 w 4533900"/>
              <a:gd name="connsiteY2" fmla="*/ 1371600 h 1371600"/>
              <a:gd name="connsiteX3" fmla="*/ 0 w 4533900"/>
              <a:gd name="connsiteY3" fmla="*/ 142875 h 1371600"/>
              <a:gd name="connsiteX0" fmla="*/ 0 w 4544532"/>
              <a:gd name="connsiteY0" fmla="*/ 153508 h 1371600"/>
              <a:gd name="connsiteX1" fmla="*/ 4544532 w 4544532"/>
              <a:gd name="connsiteY1" fmla="*/ 0 h 1371600"/>
              <a:gd name="connsiteX2" fmla="*/ 2032480 w 4544532"/>
              <a:gd name="connsiteY2" fmla="*/ 1371600 h 1371600"/>
              <a:gd name="connsiteX3" fmla="*/ 0 w 4544532"/>
              <a:gd name="connsiteY3" fmla="*/ 153508 h 1371600"/>
              <a:gd name="connsiteX0" fmla="*/ 0 w 4544532"/>
              <a:gd name="connsiteY0" fmla="*/ 142875 h 1371600"/>
              <a:gd name="connsiteX1" fmla="*/ 4544532 w 4544532"/>
              <a:gd name="connsiteY1" fmla="*/ 0 h 1371600"/>
              <a:gd name="connsiteX2" fmla="*/ 2032480 w 4544532"/>
              <a:gd name="connsiteY2" fmla="*/ 1371600 h 1371600"/>
              <a:gd name="connsiteX3" fmla="*/ 0 w 4544532"/>
              <a:gd name="connsiteY3" fmla="*/ 142875 h 1371600"/>
              <a:gd name="connsiteX0" fmla="*/ 0 w 4536805"/>
              <a:gd name="connsiteY0" fmla="*/ 148026 h 1371600"/>
              <a:gd name="connsiteX1" fmla="*/ 4536805 w 4536805"/>
              <a:gd name="connsiteY1" fmla="*/ 0 h 1371600"/>
              <a:gd name="connsiteX2" fmla="*/ 2024753 w 4536805"/>
              <a:gd name="connsiteY2" fmla="*/ 1371600 h 1371600"/>
              <a:gd name="connsiteX3" fmla="*/ 0 w 4536805"/>
              <a:gd name="connsiteY3" fmla="*/ 148026 h 1371600"/>
              <a:gd name="connsiteX0" fmla="*/ 0 w 4531653"/>
              <a:gd name="connsiteY0" fmla="*/ 142874 h 1371600"/>
              <a:gd name="connsiteX1" fmla="*/ 4531653 w 4531653"/>
              <a:gd name="connsiteY1" fmla="*/ 0 h 1371600"/>
              <a:gd name="connsiteX2" fmla="*/ 2019601 w 4531653"/>
              <a:gd name="connsiteY2" fmla="*/ 1371600 h 1371600"/>
              <a:gd name="connsiteX3" fmla="*/ 0 w 4531653"/>
              <a:gd name="connsiteY3" fmla="*/ 142874 h 1371600"/>
              <a:gd name="connsiteX0" fmla="*/ 0 w 3944799"/>
              <a:gd name="connsiteY0" fmla="*/ 33692 h 1262418"/>
              <a:gd name="connsiteX1" fmla="*/ 3944799 w 3944799"/>
              <a:gd name="connsiteY1" fmla="*/ 0 h 1262418"/>
              <a:gd name="connsiteX2" fmla="*/ 2019601 w 3944799"/>
              <a:gd name="connsiteY2" fmla="*/ 1262418 h 1262418"/>
              <a:gd name="connsiteX3" fmla="*/ 0 w 3944799"/>
              <a:gd name="connsiteY3" fmla="*/ 33692 h 1262418"/>
              <a:gd name="connsiteX0" fmla="*/ 0 w 4531653"/>
              <a:gd name="connsiteY0" fmla="*/ 115578 h 1344304"/>
              <a:gd name="connsiteX1" fmla="*/ 4531653 w 4531653"/>
              <a:gd name="connsiteY1" fmla="*/ 0 h 1344304"/>
              <a:gd name="connsiteX2" fmla="*/ 2019601 w 4531653"/>
              <a:gd name="connsiteY2" fmla="*/ 1344304 h 1344304"/>
              <a:gd name="connsiteX3" fmla="*/ 0 w 4531653"/>
              <a:gd name="connsiteY3" fmla="*/ 115578 h 134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31653" h="1344304">
                <a:moveTo>
                  <a:pt x="0" y="115578"/>
                </a:moveTo>
                <a:lnTo>
                  <a:pt x="4531653" y="0"/>
                </a:lnTo>
                <a:lnTo>
                  <a:pt x="2019601" y="1344304"/>
                </a:lnTo>
                <a:lnTo>
                  <a:pt x="0" y="115578"/>
                </a:lnTo>
                <a:close/>
              </a:path>
            </a:pathLst>
          </a:custGeom>
          <a:gradFill>
            <a:gsLst>
              <a:gs pos="9000">
                <a:schemeClr val="accent1"/>
              </a:gs>
              <a:gs pos="100000">
                <a:schemeClr val="accent2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7" name="Freeform 36"/>
          <p:cNvSpPr/>
          <p:nvPr userDrawn="1"/>
        </p:nvSpPr>
        <p:spPr>
          <a:xfrm>
            <a:off x="4067336" y="4705135"/>
            <a:ext cx="4628534" cy="2161794"/>
          </a:xfrm>
          <a:custGeom>
            <a:avLst/>
            <a:gdLst>
              <a:gd name="connsiteX0" fmla="*/ 0 w 4632158"/>
              <a:gd name="connsiteY0" fmla="*/ 1239253 h 2129590"/>
              <a:gd name="connsiteX1" fmla="*/ 3645569 w 4632158"/>
              <a:gd name="connsiteY1" fmla="*/ 0 h 2129590"/>
              <a:gd name="connsiteX2" fmla="*/ 4632158 w 4632158"/>
              <a:gd name="connsiteY2" fmla="*/ 2129590 h 2129590"/>
              <a:gd name="connsiteX3" fmla="*/ 0 w 4632158"/>
              <a:gd name="connsiteY3" fmla="*/ 1239253 h 2129590"/>
              <a:gd name="connsiteX0" fmla="*/ 0 w 4632158"/>
              <a:gd name="connsiteY0" fmla="*/ 1243228 h 2133565"/>
              <a:gd name="connsiteX1" fmla="*/ 3641593 w 4632158"/>
              <a:gd name="connsiteY1" fmla="*/ 0 h 2133565"/>
              <a:gd name="connsiteX2" fmla="*/ 4632158 w 4632158"/>
              <a:gd name="connsiteY2" fmla="*/ 2133565 h 2133565"/>
              <a:gd name="connsiteX3" fmla="*/ 0 w 4632158"/>
              <a:gd name="connsiteY3" fmla="*/ 1243228 h 2133565"/>
              <a:gd name="connsiteX0" fmla="*/ 0 w 4656011"/>
              <a:gd name="connsiteY0" fmla="*/ 1243228 h 2157419"/>
              <a:gd name="connsiteX1" fmla="*/ 3641593 w 4656011"/>
              <a:gd name="connsiteY1" fmla="*/ 0 h 2157419"/>
              <a:gd name="connsiteX2" fmla="*/ 4656011 w 4656011"/>
              <a:gd name="connsiteY2" fmla="*/ 2157419 h 2157419"/>
              <a:gd name="connsiteX3" fmla="*/ 0 w 4656011"/>
              <a:gd name="connsiteY3" fmla="*/ 1243228 h 2157419"/>
              <a:gd name="connsiteX0" fmla="*/ 0 w 4659987"/>
              <a:gd name="connsiteY0" fmla="*/ 1247204 h 2157419"/>
              <a:gd name="connsiteX1" fmla="*/ 3645569 w 4659987"/>
              <a:gd name="connsiteY1" fmla="*/ 0 h 2157419"/>
              <a:gd name="connsiteX2" fmla="*/ 4659987 w 4659987"/>
              <a:gd name="connsiteY2" fmla="*/ 2157419 h 2157419"/>
              <a:gd name="connsiteX3" fmla="*/ 0 w 4659987"/>
              <a:gd name="connsiteY3" fmla="*/ 1247204 h 2157419"/>
              <a:gd name="connsiteX0" fmla="*/ 0 w 4667938"/>
              <a:gd name="connsiteY0" fmla="*/ 1263107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63107 h 2157419"/>
              <a:gd name="connsiteX0" fmla="*/ 0 w 4667938"/>
              <a:gd name="connsiteY0" fmla="*/ 1259132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59132 h 2157419"/>
              <a:gd name="connsiteX0" fmla="*/ 0 w 4667938"/>
              <a:gd name="connsiteY0" fmla="*/ 1259132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59132 h 2157419"/>
              <a:gd name="connsiteX0" fmla="*/ 0 w 4659987"/>
              <a:gd name="connsiteY0" fmla="*/ 1251181 h 2157419"/>
              <a:gd name="connsiteX1" fmla="*/ 3645569 w 4659987"/>
              <a:gd name="connsiteY1" fmla="*/ 0 h 2157419"/>
              <a:gd name="connsiteX2" fmla="*/ 4659987 w 4659987"/>
              <a:gd name="connsiteY2" fmla="*/ 2157419 h 2157419"/>
              <a:gd name="connsiteX3" fmla="*/ 0 w 4659987"/>
              <a:gd name="connsiteY3" fmla="*/ 1251181 h 2157419"/>
              <a:gd name="connsiteX0" fmla="*/ 0 w 4674275"/>
              <a:gd name="connsiteY0" fmla="*/ 1251181 h 2157419"/>
              <a:gd name="connsiteX1" fmla="*/ 3645569 w 4674275"/>
              <a:gd name="connsiteY1" fmla="*/ 0 h 2157419"/>
              <a:gd name="connsiteX2" fmla="*/ 4674275 w 4674275"/>
              <a:gd name="connsiteY2" fmla="*/ 2157419 h 2157419"/>
              <a:gd name="connsiteX3" fmla="*/ 0 w 4674275"/>
              <a:gd name="connsiteY3" fmla="*/ 1251181 h 2157419"/>
              <a:gd name="connsiteX0" fmla="*/ 0 w 4683800"/>
              <a:gd name="connsiteY0" fmla="*/ 1251181 h 2157419"/>
              <a:gd name="connsiteX1" fmla="*/ 3655094 w 4683800"/>
              <a:gd name="connsiteY1" fmla="*/ 0 h 2157419"/>
              <a:gd name="connsiteX2" fmla="*/ 4683800 w 4683800"/>
              <a:gd name="connsiteY2" fmla="*/ 2157419 h 2157419"/>
              <a:gd name="connsiteX3" fmla="*/ 0 w 4683800"/>
              <a:gd name="connsiteY3" fmla="*/ 1251181 h 2157419"/>
              <a:gd name="connsiteX0" fmla="*/ 0 w 4695230"/>
              <a:gd name="connsiteY0" fmla="*/ 1251181 h 2157419"/>
              <a:gd name="connsiteX1" fmla="*/ 3666524 w 4695230"/>
              <a:gd name="connsiteY1" fmla="*/ 0 h 2157419"/>
              <a:gd name="connsiteX2" fmla="*/ 4695230 w 4695230"/>
              <a:gd name="connsiteY2" fmla="*/ 2157419 h 2157419"/>
              <a:gd name="connsiteX3" fmla="*/ 0 w 4695230"/>
              <a:gd name="connsiteY3" fmla="*/ 1251181 h 2157419"/>
              <a:gd name="connsiteX0" fmla="*/ 0 w 4695230"/>
              <a:gd name="connsiteY0" fmla="*/ 1251181 h 2171067"/>
              <a:gd name="connsiteX1" fmla="*/ 3666524 w 4695230"/>
              <a:gd name="connsiteY1" fmla="*/ 0 h 2171067"/>
              <a:gd name="connsiteX2" fmla="*/ 4695230 w 4695230"/>
              <a:gd name="connsiteY2" fmla="*/ 2171067 h 2171067"/>
              <a:gd name="connsiteX3" fmla="*/ 0 w 4695230"/>
              <a:gd name="connsiteY3" fmla="*/ 1251181 h 2171067"/>
              <a:gd name="connsiteX0" fmla="*/ 0 w 4708878"/>
              <a:gd name="connsiteY0" fmla="*/ 1251181 h 2184715"/>
              <a:gd name="connsiteX1" fmla="*/ 3666524 w 4708878"/>
              <a:gd name="connsiteY1" fmla="*/ 0 h 2184715"/>
              <a:gd name="connsiteX2" fmla="*/ 4708878 w 4708878"/>
              <a:gd name="connsiteY2" fmla="*/ 2184715 h 2184715"/>
              <a:gd name="connsiteX3" fmla="*/ 0 w 4708878"/>
              <a:gd name="connsiteY3" fmla="*/ 1251181 h 2184715"/>
              <a:gd name="connsiteX0" fmla="*/ 0 w 4722526"/>
              <a:gd name="connsiteY0" fmla="*/ 1251181 h 2198363"/>
              <a:gd name="connsiteX1" fmla="*/ 3666524 w 4722526"/>
              <a:gd name="connsiteY1" fmla="*/ 0 h 2198363"/>
              <a:gd name="connsiteX2" fmla="*/ 4722526 w 4722526"/>
              <a:gd name="connsiteY2" fmla="*/ 2198363 h 2198363"/>
              <a:gd name="connsiteX3" fmla="*/ 0 w 4722526"/>
              <a:gd name="connsiteY3" fmla="*/ 1251181 h 2198363"/>
              <a:gd name="connsiteX0" fmla="*/ 0 w 4658916"/>
              <a:gd name="connsiteY0" fmla="*/ 1251181 h 2190411"/>
              <a:gd name="connsiteX1" fmla="*/ 3666524 w 4658916"/>
              <a:gd name="connsiteY1" fmla="*/ 0 h 2190411"/>
              <a:gd name="connsiteX2" fmla="*/ 4658916 w 4658916"/>
              <a:gd name="connsiteY2" fmla="*/ 2190411 h 2190411"/>
              <a:gd name="connsiteX3" fmla="*/ 0 w 4658916"/>
              <a:gd name="connsiteY3" fmla="*/ 1251181 h 2190411"/>
              <a:gd name="connsiteX0" fmla="*/ 0 w 4658916"/>
              <a:gd name="connsiteY0" fmla="*/ 1251181 h 2166557"/>
              <a:gd name="connsiteX1" fmla="*/ 3666524 w 4658916"/>
              <a:gd name="connsiteY1" fmla="*/ 0 h 2166557"/>
              <a:gd name="connsiteX2" fmla="*/ 4658916 w 4658916"/>
              <a:gd name="connsiteY2" fmla="*/ 2166557 h 2166557"/>
              <a:gd name="connsiteX3" fmla="*/ 0 w 4658916"/>
              <a:gd name="connsiteY3" fmla="*/ 1251181 h 2166557"/>
              <a:gd name="connsiteX0" fmla="*/ 0 w 4670136"/>
              <a:gd name="connsiteY0" fmla="*/ 1251181 h 2166557"/>
              <a:gd name="connsiteX1" fmla="*/ 3677744 w 4670136"/>
              <a:gd name="connsiteY1" fmla="*/ 0 h 2166557"/>
              <a:gd name="connsiteX2" fmla="*/ 4670136 w 4670136"/>
              <a:gd name="connsiteY2" fmla="*/ 2166557 h 2166557"/>
              <a:gd name="connsiteX3" fmla="*/ 0 w 4670136"/>
              <a:gd name="connsiteY3" fmla="*/ 1251181 h 2166557"/>
              <a:gd name="connsiteX0" fmla="*/ 0 w 4653306"/>
              <a:gd name="connsiteY0" fmla="*/ 1251181 h 2166557"/>
              <a:gd name="connsiteX1" fmla="*/ 3660914 w 4653306"/>
              <a:gd name="connsiteY1" fmla="*/ 0 h 2166557"/>
              <a:gd name="connsiteX2" fmla="*/ 4653306 w 4653306"/>
              <a:gd name="connsiteY2" fmla="*/ 2166557 h 2166557"/>
              <a:gd name="connsiteX3" fmla="*/ 0 w 4653306"/>
              <a:gd name="connsiteY3" fmla="*/ 1251181 h 2166557"/>
              <a:gd name="connsiteX0" fmla="*/ 0 w 4001299"/>
              <a:gd name="connsiteY0" fmla="*/ 869518 h 2166557"/>
              <a:gd name="connsiteX1" fmla="*/ 3008907 w 4001299"/>
              <a:gd name="connsiteY1" fmla="*/ 0 h 2166557"/>
              <a:gd name="connsiteX2" fmla="*/ 4001299 w 4001299"/>
              <a:gd name="connsiteY2" fmla="*/ 2166557 h 2166557"/>
              <a:gd name="connsiteX3" fmla="*/ 0 w 4001299"/>
              <a:gd name="connsiteY3" fmla="*/ 869518 h 2166557"/>
              <a:gd name="connsiteX0" fmla="*/ 0 w 4645354"/>
              <a:gd name="connsiteY0" fmla="*/ 1251181 h 2166557"/>
              <a:gd name="connsiteX1" fmla="*/ 3652962 w 4645354"/>
              <a:gd name="connsiteY1" fmla="*/ 0 h 2166557"/>
              <a:gd name="connsiteX2" fmla="*/ 4645354 w 4645354"/>
              <a:gd name="connsiteY2" fmla="*/ 2166557 h 2166557"/>
              <a:gd name="connsiteX3" fmla="*/ 0 w 4645354"/>
              <a:gd name="connsiteY3" fmla="*/ 1251181 h 2166557"/>
              <a:gd name="connsiteX0" fmla="*/ 0 w 4645354"/>
              <a:gd name="connsiteY0" fmla="*/ 1243230 h 2166557"/>
              <a:gd name="connsiteX1" fmla="*/ 3652962 w 4645354"/>
              <a:gd name="connsiteY1" fmla="*/ 0 h 2166557"/>
              <a:gd name="connsiteX2" fmla="*/ 4645354 w 4645354"/>
              <a:gd name="connsiteY2" fmla="*/ 2166557 h 2166557"/>
              <a:gd name="connsiteX3" fmla="*/ 0 w 4645354"/>
              <a:gd name="connsiteY3" fmla="*/ 1243230 h 2166557"/>
              <a:gd name="connsiteX0" fmla="*/ 0 w 4645354"/>
              <a:gd name="connsiteY0" fmla="*/ 1238467 h 2161794"/>
              <a:gd name="connsiteX1" fmla="*/ 3664911 w 4645354"/>
              <a:gd name="connsiteY1" fmla="*/ 0 h 2161794"/>
              <a:gd name="connsiteX2" fmla="*/ 4645354 w 4645354"/>
              <a:gd name="connsiteY2" fmla="*/ 2161794 h 2161794"/>
              <a:gd name="connsiteX3" fmla="*/ 0 w 4645354"/>
              <a:gd name="connsiteY3" fmla="*/ 1238467 h 2161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5354" h="2161794">
                <a:moveTo>
                  <a:pt x="0" y="1238467"/>
                </a:moveTo>
                <a:lnTo>
                  <a:pt x="3664911" y="0"/>
                </a:lnTo>
                <a:lnTo>
                  <a:pt x="4645354" y="2161794"/>
                </a:lnTo>
                <a:lnTo>
                  <a:pt x="0" y="1238467"/>
                </a:lnTo>
                <a:close/>
              </a:path>
            </a:pathLst>
          </a:custGeom>
          <a:gradFill>
            <a:gsLst>
              <a:gs pos="2000">
                <a:schemeClr val="accent1"/>
              </a:gs>
              <a:gs pos="100000">
                <a:schemeClr val="accent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8" name="Freeform 37"/>
          <p:cNvSpPr/>
          <p:nvPr userDrawn="1"/>
        </p:nvSpPr>
        <p:spPr>
          <a:xfrm>
            <a:off x="3541852" y="3007895"/>
            <a:ext cx="2834884" cy="2947737"/>
          </a:xfrm>
          <a:custGeom>
            <a:avLst/>
            <a:gdLst>
              <a:gd name="connsiteX0" fmla="*/ 0 w 2791326"/>
              <a:gd name="connsiteY0" fmla="*/ 1816768 h 2947737"/>
              <a:gd name="connsiteX1" fmla="*/ 493294 w 2791326"/>
              <a:gd name="connsiteY1" fmla="*/ 2947737 h 2947737"/>
              <a:gd name="connsiteX2" fmla="*/ 2791326 w 2791326"/>
              <a:gd name="connsiteY2" fmla="*/ 0 h 2947737"/>
              <a:gd name="connsiteX3" fmla="*/ 0 w 2791326"/>
              <a:gd name="connsiteY3" fmla="*/ 1816768 h 2947737"/>
              <a:gd name="connsiteX0" fmla="*/ 0 w 2799638"/>
              <a:gd name="connsiteY0" fmla="*/ 1845863 h 2947737"/>
              <a:gd name="connsiteX1" fmla="*/ 501606 w 2799638"/>
              <a:gd name="connsiteY1" fmla="*/ 2947737 h 2947737"/>
              <a:gd name="connsiteX2" fmla="*/ 2799638 w 2799638"/>
              <a:gd name="connsiteY2" fmla="*/ 0 h 2947737"/>
              <a:gd name="connsiteX3" fmla="*/ 0 w 2799638"/>
              <a:gd name="connsiteY3" fmla="*/ 1845863 h 2947737"/>
              <a:gd name="connsiteX0" fmla="*/ 0 w 2826933"/>
              <a:gd name="connsiteY0" fmla="*/ 1886806 h 2947737"/>
              <a:gd name="connsiteX1" fmla="*/ 52890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86806 h 2947737"/>
              <a:gd name="connsiteX0" fmla="*/ 0 w 2826933"/>
              <a:gd name="connsiteY0" fmla="*/ 1859510 h 2947737"/>
              <a:gd name="connsiteX1" fmla="*/ 52890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59510 h 2947737"/>
              <a:gd name="connsiteX0" fmla="*/ 0 w 2826933"/>
              <a:gd name="connsiteY0" fmla="*/ 1859510 h 2947737"/>
              <a:gd name="connsiteX1" fmla="*/ 52329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59510 h 2947737"/>
              <a:gd name="connsiteX0" fmla="*/ 0 w 2834884"/>
              <a:gd name="connsiteY0" fmla="*/ 1867462 h 2947737"/>
              <a:gd name="connsiteX1" fmla="*/ 531242 w 2834884"/>
              <a:gd name="connsiteY1" fmla="*/ 2947737 h 2947737"/>
              <a:gd name="connsiteX2" fmla="*/ 2834884 w 2834884"/>
              <a:gd name="connsiteY2" fmla="*/ 0 h 2947737"/>
              <a:gd name="connsiteX3" fmla="*/ 0 w 2834884"/>
              <a:gd name="connsiteY3" fmla="*/ 1867462 h 294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4884" h="2947737">
                <a:moveTo>
                  <a:pt x="0" y="1867462"/>
                </a:moveTo>
                <a:lnTo>
                  <a:pt x="531242" y="2947737"/>
                </a:lnTo>
                <a:lnTo>
                  <a:pt x="2834884" y="0"/>
                </a:lnTo>
                <a:lnTo>
                  <a:pt x="0" y="1867462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97000">
                <a:schemeClr val="accent1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79413" y="1333500"/>
            <a:ext cx="9521825" cy="4127499"/>
          </a:xfrm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693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-9845" y="-7221"/>
            <a:ext cx="12210731" cy="6884165"/>
            <a:chOff x="-9845" y="-7221"/>
            <a:chExt cx="12210731" cy="6884165"/>
          </a:xfrm>
        </p:grpSpPr>
        <p:sp>
          <p:nvSpPr>
            <p:cNvPr id="6" name="Freeform 5"/>
            <p:cNvSpPr/>
            <p:nvPr/>
          </p:nvSpPr>
          <p:spPr>
            <a:xfrm>
              <a:off x="-6314" y="3602940"/>
              <a:ext cx="3593122" cy="3267566"/>
            </a:xfrm>
            <a:custGeom>
              <a:avLst/>
              <a:gdLst>
                <a:gd name="connsiteX0" fmla="*/ 1392248 w 3580909"/>
                <a:gd name="connsiteY0" fmla="*/ 0 h 3209249"/>
                <a:gd name="connsiteX1" fmla="*/ 0 w 3580909"/>
                <a:gd name="connsiteY1" fmla="*/ 3209249 h 3209249"/>
                <a:gd name="connsiteX2" fmla="*/ 3580909 w 3580909"/>
                <a:gd name="connsiteY2" fmla="*/ 1215267 h 3209249"/>
                <a:gd name="connsiteX3" fmla="*/ 1392248 w 3580909"/>
                <a:gd name="connsiteY3" fmla="*/ 0 h 3209249"/>
                <a:gd name="connsiteX0" fmla="*/ 1406371 w 3595032"/>
                <a:gd name="connsiteY0" fmla="*/ 0 h 3209249"/>
                <a:gd name="connsiteX1" fmla="*/ 0 w 3595032"/>
                <a:gd name="connsiteY1" fmla="*/ 3209249 h 3209249"/>
                <a:gd name="connsiteX2" fmla="*/ 3595032 w 3595032"/>
                <a:gd name="connsiteY2" fmla="*/ 1215267 h 3209249"/>
                <a:gd name="connsiteX3" fmla="*/ 1406371 w 3595032"/>
                <a:gd name="connsiteY3" fmla="*/ 0 h 3209249"/>
                <a:gd name="connsiteX0" fmla="*/ 1399310 w 3587971"/>
                <a:gd name="connsiteY0" fmla="*/ 0 h 3209249"/>
                <a:gd name="connsiteX1" fmla="*/ 0 w 3587971"/>
                <a:gd name="connsiteY1" fmla="*/ 3209249 h 3209249"/>
                <a:gd name="connsiteX2" fmla="*/ 3587971 w 3587971"/>
                <a:gd name="connsiteY2" fmla="*/ 1215267 h 3209249"/>
                <a:gd name="connsiteX3" fmla="*/ 1399310 w 3587971"/>
                <a:gd name="connsiteY3" fmla="*/ 0 h 3209249"/>
                <a:gd name="connsiteX0" fmla="*/ 1399310 w 3587971"/>
                <a:gd name="connsiteY0" fmla="*/ 0 h 3252111"/>
                <a:gd name="connsiteX1" fmla="*/ 0 w 3587971"/>
                <a:gd name="connsiteY1" fmla="*/ 3252111 h 3252111"/>
                <a:gd name="connsiteX2" fmla="*/ 3587971 w 3587971"/>
                <a:gd name="connsiteY2" fmla="*/ 1258129 h 3252111"/>
                <a:gd name="connsiteX3" fmla="*/ 1399310 w 3587971"/>
                <a:gd name="connsiteY3" fmla="*/ 0 h 3252111"/>
                <a:gd name="connsiteX0" fmla="*/ 1396734 w 3585395"/>
                <a:gd name="connsiteY0" fmla="*/ 0 h 3264990"/>
                <a:gd name="connsiteX1" fmla="*/ 0 w 3585395"/>
                <a:gd name="connsiteY1" fmla="*/ 3264990 h 3264990"/>
                <a:gd name="connsiteX2" fmla="*/ 3585395 w 3585395"/>
                <a:gd name="connsiteY2" fmla="*/ 1258129 h 3264990"/>
                <a:gd name="connsiteX3" fmla="*/ 1396734 w 3585395"/>
                <a:gd name="connsiteY3" fmla="*/ 0 h 3264990"/>
                <a:gd name="connsiteX0" fmla="*/ 1404461 w 3593122"/>
                <a:gd name="connsiteY0" fmla="*/ 0 h 3267566"/>
                <a:gd name="connsiteX1" fmla="*/ 0 w 3593122"/>
                <a:gd name="connsiteY1" fmla="*/ 3267566 h 3267566"/>
                <a:gd name="connsiteX2" fmla="*/ 3593122 w 3593122"/>
                <a:gd name="connsiteY2" fmla="*/ 1258129 h 3267566"/>
                <a:gd name="connsiteX3" fmla="*/ 1404461 w 3593122"/>
                <a:gd name="connsiteY3" fmla="*/ 0 h 3267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93122" h="3267566">
                  <a:moveTo>
                    <a:pt x="1404461" y="0"/>
                  </a:moveTo>
                  <a:lnTo>
                    <a:pt x="0" y="3267566"/>
                  </a:lnTo>
                  <a:lnTo>
                    <a:pt x="3593122" y="1258129"/>
                  </a:lnTo>
                  <a:lnTo>
                    <a:pt x="1404461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7" name="Freeform 6"/>
            <p:cNvSpPr/>
            <p:nvPr/>
          </p:nvSpPr>
          <p:spPr>
            <a:xfrm>
              <a:off x="1390330" y="1741468"/>
              <a:ext cx="2199979" cy="3164694"/>
            </a:xfrm>
            <a:custGeom>
              <a:avLst/>
              <a:gdLst>
                <a:gd name="connsiteX0" fmla="*/ 1739462 w 2186152"/>
                <a:gd name="connsiteY0" fmla="*/ 0 h 3095296"/>
                <a:gd name="connsiteX1" fmla="*/ 0 w 2186152"/>
                <a:gd name="connsiteY1" fmla="*/ 1891862 h 3095296"/>
                <a:gd name="connsiteX2" fmla="*/ 2186152 w 2186152"/>
                <a:gd name="connsiteY2" fmla="*/ 3095296 h 3095296"/>
                <a:gd name="connsiteX3" fmla="*/ 1739462 w 2186152"/>
                <a:gd name="connsiteY3" fmla="*/ 0 h 3095296"/>
                <a:gd name="connsiteX0" fmla="*/ 1733563 w 2186152"/>
                <a:gd name="connsiteY0" fmla="*/ 0 h 3112994"/>
                <a:gd name="connsiteX1" fmla="*/ 0 w 2186152"/>
                <a:gd name="connsiteY1" fmla="*/ 1909560 h 3112994"/>
                <a:gd name="connsiteX2" fmla="*/ 2186152 w 2186152"/>
                <a:gd name="connsiteY2" fmla="*/ 3112994 h 3112994"/>
                <a:gd name="connsiteX3" fmla="*/ 1733563 w 2186152"/>
                <a:gd name="connsiteY3" fmla="*/ 0 h 3112994"/>
                <a:gd name="connsiteX0" fmla="*/ 1752613 w 2186152"/>
                <a:gd name="connsiteY0" fmla="*/ 0 h 3108232"/>
                <a:gd name="connsiteX1" fmla="*/ 0 w 2186152"/>
                <a:gd name="connsiteY1" fmla="*/ 1904798 h 3108232"/>
                <a:gd name="connsiteX2" fmla="*/ 2186152 w 2186152"/>
                <a:gd name="connsiteY2" fmla="*/ 3108232 h 3108232"/>
                <a:gd name="connsiteX3" fmla="*/ 1752613 w 2186152"/>
                <a:gd name="connsiteY3" fmla="*/ 0 h 3108232"/>
                <a:gd name="connsiteX0" fmla="*/ 1738326 w 2186152"/>
                <a:gd name="connsiteY0" fmla="*/ 0 h 3108232"/>
                <a:gd name="connsiteX1" fmla="*/ 0 w 2186152"/>
                <a:gd name="connsiteY1" fmla="*/ 1904798 h 3108232"/>
                <a:gd name="connsiteX2" fmla="*/ 2186152 w 2186152"/>
                <a:gd name="connsiteY2" fmla="*/ 3108232 h 3108232"/>
                <a:gd name="connsiteX3" fmla="*/ 1738326 w 2186152"/>
                <a:gd name="connsiteY3" fmla="*/ 0 h 3108232"/>
                <a:gd name="connsiteX0" fmla="*/ 1724039 w 2186152"/>
                <a:gd name="connsiteY0" fmla="*/ 0 h 3089182"/>
                <a:gd name="connsiteX1" fmla="*/ 0 w 2186152"/>
                <a:gd name="connsiteY1" fmla="*/ 1885748 h 3089182"/>
                <a:gd name="connsiteX2" fmla="*/ 2186152 w 2186152"/>
                <a:gd name="connsiteY2" fmla="*/ 3089182 h 3089182"/>
                <a:gd name="connsiteX3" fmla="*/ 1724039 w 2186152"/>
                <a:gd name="connsiteY3" fmla="*/ 0 h 3089182"/>
                <a:gd name="connsiteX0" fmla="*/ 1743089 w 2205202"/>
                <a:gd name="connsiteY0" fmla="*/ 0 h 3089182"/>
                <a:gd name="connsiteX1" fmla="*/ 0 w 2205202"/>
                <a:gd name="connsiteY1" fmla="*/ 1861935 h 3089182"/>
                <a:gd name="connsiteX2" fmla="*/ 2205202 w 2205202"/>
                <a:gd name="connsiteY2" fmla="*/ 3089182 h 3089182"/>
                <a:gd name="connsiteX3" fmla="*/ 1743089 w 2205202"/>
                <a:gd name="connsiteY3" fmla="*/ 0 h 3089182"/>
                <a:gd name="connsiteX0" fmla="*/ 1733564 w 2205202"/>
                <a:gd name="connsiteY0" fmla="*/ 0 h 3079657"/>
                <a:gd name="connsiteX1" fmla="*/ 0 w 2205202"/>
                <a:gd name="connsiteY1" fmla="*/ 1852410 h 3079657"/>
                <a:gd name="connsiteX2" fmla="*/ 2205202 w 2205202"/>
                <a:gd name="connsiteY2" fmla="*/ 3079657 h 3079657"/>
                <a:gd name="connsiteX3" fmla="*/ 1733564 w 2205202"/>
                <a:gd name="connsiteY3" fmla="*/ 0 h 3079657"/>
                <a:gd name="connsiteX0" fmla="*/ 1695464 w 2167102"/>
                <a:gd name="connsiteY0" fmla="*/ 0 h 3079657"/>
                <a:gd name="connsiteX1" fmla="*/ 0 w 2167102"/>
                <a:gd name="connsiteY1" fmla="*/ 1871460 h 3079657"/>
                <a:gd name="connsiteX2" fmla="*/ 2167102 w 2167102"/>
                <a:gd name="connsiteY2" fmla="*/ 3079657 h 3079657"/>
                <a:gd name="connsiteX3" fmla="*/ 1695464 w 2167102"/>
                <a:gd name="connsiteY3" fmla="*/ 0 h 3079657"/>
                <a:gd name="connsiteX0" fmla="*/ 1724039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24039 w 2195677"/>
                <a:gd name="connsiteY3" fmla="*/ 0 h 3079657"/>
                <a:gd name="connsiteX0" fmla="*/ 1746073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46073 w 2195677"/>
                <a:gd name="connsiteY3" fmla="*/ 0 h 3079657"/>
                <a:gd name="connsiteX0" fmla="*/ 1714323 w 2195677"/>
                <a:gd name="connsiteY0" fmla="*/ 0 h 3098707"/>
                <a:gd name="connsiteX1" fmla="*/ 0 w 2195677"/>
                <a:gd name="connsiteY1" fmla="*/ 1885748 h 3098707"/>
                <a:gd name="connsiteX2" fmla="*/ 2195677 w 2195677"/>
                <a:gd name="connsiteY2" fmla="*/ 3098707 h 3098707"/>
                <a:gd name="connsiteX3" fmla="*/ 1714323 w 2195677"/>
                <a:gd name="connsiteY3" fmla="*/ 0 h 3098707"/>
                <a:gd name="connsiteX0" fmla="*/ 1720673 w 2195677"/>
                <a:gd name="connsiteY0" fmla="*/ 0 h 3092357"/>
                <a:gd name="connsiteX1" fmla="*/ 0 w 2195677"/>
                <a:gd name="connsiteY1" fmla="*/ 1879398 h 3092357"/>
                <a:gd name="connsiteX2" fmla="*/ 2195677 w 2195677"/>
                <a:gd name="connsiteY2" fmla="*/ 3092357 h 3092357"/>
                <a:gd name="connsiteX3" fmla="*/ 1720673 w 2195677"/>
                <a:gd name="connsiteY3" fmla="*/ 0 h 3092357"/>
                <a:gd name="connsiteX0" fmla="*/ 1739723 w 2195677"/>
                <a:gd name="connsiteY0" fmla="*/ 0 h 3086007"/>
                <a:gd name="connsiteX1" fmla="*/ 0 w 2195677"/>
                <a:gd name="connsiteY1" fmla="*/ 1873048 h 3086007"/>
                <a:gd name="connsiteX2" fmla="*/ 2195677 w 2195677"/>
                <a:gd name="connsiteY2" fmla="*/ 3086007 h 3086007"/>
                <a:gd name="connsiteX3" fmla="*/ 1739723 w 2195677"/>
                <a:gd name="connsiteY3" fmla="*/ 0 h 3086007"/>
                <a:gd name="connsiteX0" fmla="*/ 1720673 w 2195677"/>
                <a:gd name="connsiteY0" fmla="*/ 0 h 3155857"/>
                <a:gd name="connsiteX1" fmla="*/ 0 w 2195677"/>
                <a:gd name="connsiteY1" fmla="*/ 1942898 h 3155857"/>
                <a:gd name="connsiteX2" fmla="*/ 2195677 w 2195677"/>
                <a:gd name="connsiteY2" fmla="*/ 3155857 h 3155857"/>
                <a:gd name="connsiteX3" fmla="*/ 1720673 w 2195677"/>
                <a:gd name="connsiteY3" fmla="*/ 0 h 3155857"/>
                <a:gd name="connsiteX0" fmla="*/ 1720673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20673 w 2195677"/>
                <a:gd name="connsiteY3" fmla="*/ 0 h 3079657"/>
                <a:gd name="connsiteX0" fmla="*/ 1720673 w 2195677"/>
                <a:gd name="connsiteY0" fmla="*/ 0 h 3149507"/>
                <a:gd name="connsiteX1" fmla="*/ 0 w 2195677"/>
                <a:gd name="connsiteY1" fmla="*/ 1936548 h 3149507"/>
                <a:gd name="connsiteX2" fmla="*/ 2195677 w 2195677"/>
                <a:gd name="connsiteY2" fmla="*/ 3149507 h 3149507"/>
                <a:gd name="connsiteX3" fmla="*/ 1720673 w 2195677"/>
                <a:gd name="connsiteY3" fmla="*/ 0 h 3149507"/>
                <a:gd name="connsiteX0" fmla="*/ 1739723 w 2214727"/>
                <a:gd name="connsiteY0" fmla="*/ 0 h 3149507"/>
                <a:gd name="connsiteX1" fmla="*/ 0 w 2214727"/>
                <a:gd name="connsiteY1" fmla="*/ 1936548 h 3149507"/>
                <a:gd name="connsiteX2" fmla="*/ 2214727 w 2214727"/>
                <a:gd name="connsiteY2" fmla="*/ 3149507 h 3149507"/>
                <a:gd name="connsiteX3" fmla="*/ 1739723 w 2214727"/>
                <a:gd name="connsiteY3" fmla="*/ 0 h 3149507"/>
                <a:gd name="connsiteX0" fmla="*/ 1739723 w 2214727"/>
                <a:gd name="connsiteY0" fmla="*/ 0 h 3149507"/>
                <a:gd name="connsiteX1" fmla="*/ 0 w 2214727"/>
                <a:gd name="connsiteY1" fmla="*/ 1936548 h 3149507"/>
                <a:gd name="connsiteX2" fmla="*/ 2214727 w 2214727"/>
                <a:gd name="connsiteY2" fmla="*/ 3149507 h 3149507"/>
                <a:gd name="connsiteX3" fmla="*/ 1739723 w 2214727"/>
                <a:gd name="connsiteY3" fmla="*/ 0 h 3149507"/>
                <a:gd name="connsiteX0" fmla="*/ 1724975 w 2199979"/>
                <a:gd name="connsiteY0" fmla="*/ 0 h 3149507"/>
                <a:gd name="connsiteX1" fmla="*/ 0 w 2199979"/>
                <a:gd name="connsiteY1" fmla="*/ 1921800 h 3149507"/>
                <a:gd name="connsiteX2" fmla="*/ 2199979 w 2199979"/>
                <a:gd name="connsiteY2" fmla="*/ 3149507 h 3149507"/>
                <a:gd name="connsiteX3" fmla="*/ 1724975 w 2199979"/>
                <a:gd name="connsiteY3" fmla="*/ 0 h 3149507"/>
                <a:gd name="connsiteX0" fmla="*/ 1722399 w 2199979"/>
                <a:gd name="connsiteY0" fmla="*/ 0 h 3072234"/>
                <a:gd name="connsiteX1" fmla="*/ 0 w 2199979"/>
                <a:gd name="connsiteY1" fmla="*/ 1844527 h 3072234"/>
                <a:gd name="connsiteX2" fmla="*/ 2199979 w 2199979"/>
                <a:gd name="connsiteY2" fmla="*/ 3072234 h 3072234"/>
                <a:gd name="connsiteX3" fmla="*/ 1722399 w 2199979"/>
                <a:gd name="connsiteY3" fmla="*/ 0 h 3072234"/>
                <a:gd name="connsiteX0" fmla="*/ 1722399 w 2199979"/>
                <a:gd name="connsiteY0" fmla="*/ 0 h 3123750"/>
                <a:gd name="connsiteX1" fmla="*/ 0 w 2199979"/>
                <a:gd name="connsiteY1" fmla="*/ 1896043 h 3123750"/>
                <a:gd name="connsiteX2" fmla="*/ 2199979 w 2199979"/>
                <a:gd name="connsiteY2" fmla="*/ 3123750 h 3123750"/>
                <a:gd name="connsiteX3" fmla="*/ 1722399 w 2199979"/>
                <a:gd name="connsiteY3" fmla="*/ 0 h 3123750"/>
                <a:gd name="connsiteX0" fmla="*/ 1736047 w 2199979"/>
                <a:gd name="connsiteY0" fmla="*/ 0 h 3164694"/>
                <a:gd name="connsiteX1" fmla="*/ 0 w 2199979"/>
                <a:gd name="connsiteY1" fmla="*/ 1936987 h 3164694"/>
                <a:gd name="connsiteX2" fmla="*/ 2199979 w 2199979"/>
                <a:gd name="connsiteY2" fmla="*/ 3164694 h 3164694"/>
                <a:gd name="connsiteX3" fmla="*/ 1736047 w 2199979"/>
                <a:gd name="connsiteY3" fmla="*/ 0 h 3164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9979" h="3164694">
                  <a:moveTo>
                    <a:pt x="1736047" y="0"/>
                  </a:moveTo>
                  <a:lnTo>
                    <a:pt x="0" y="1936987"/>
                  </a:lnTo>
                  <a:lnTo>
                    <a:pt x="2199979" y="3164694"/>
                  </a:lnTo>
                  <a:lnTo>
                    <a:pt x="1736047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8" name="Freeform 7"/>
            <p:cNvSpPr/>
            <p:nvPr/>
          </p:nvSpPr>
          <p:spPr>
            <a:xfrm>
              <a:off x="6375805" y="1"/>
              <a:ext cx="4644129" cy="1222744"/>
            </a:xfrm>
            <a:custGeom>
              <a:avLst/>
              <a:gdLst>
                <a:gd name="connsiteX0" fmla="*/ 0 w 4550735"/>
                <a:gd name="connsiteY0" fmla="*/ 0 h 1222745"/>
                <a:gd name="connsiteX1" fmla="*/ 1222744 w 4550735"/>
                <a:gd name="connsiteY1" fmla="*/ 1222745 h 1222745"/>
                <a:gd name="connsiteX2" fmla="*/ 4550735 w 4550735"/>
                <a:gd name="connsiteY2" fmla="*/ 10633 h 1222745"/>
                <a:gd name="connsiteX3" fmla="*/ 0 w 4550735"/>
                <a:gd name="connsiteY3" fmla="*/ 0 h 1222745"/>
                <a:gd name="connsiteX0" fmla="*/ 0 w 4582633"/>
                <a:gd name="connsiteY0" fmla="*/ 10633 h 1212112"/>
                <a:gd name="connsiteX1" fmla="*/ 1254642 w 4582633"/>
                <a:gd name="connsiteY1" fmla="*/ 1212112 h 1212112"/>
                <a:gd name="connsiteX2" fmla="*/ 4582633 w 4582633"/>
                <a:gd name="connsiteY2" fmla="*/ 0 h 1212112"/>
                <a:gd name="connsiteX3" fmla="*/ 0 w 4582633"/>
                <a:gd name="connsiteY3" fmla="*/ 10633 h 1212112"/>
                <a:gd name="connsiteX0" fmla="*/ 0 w 4566685"/>
                <a:gd name="connsiteY0" fmla="*/ 0 h 1228061"/>
                <a:gd name="connsiteX1" fmla="*/ 1238694 w 4566685"/>
                <a:gd name="connsiteY1" fmla="*/ 1228061 h 1228061"/>
                <a:gd name="connsiteX2" fmla="*/ 4566685 w 4566685"/>
                <a:gd name="connsiteY2" fmla="*/ 15949 h 1228061"/>
                <a:gd name="connsiteX3" fmla="*/ 0 w 4566685"/>
                <a:gd name="connsiteY3" fmla="*/ 0 h 1228061"/>
                <a:gd name="connsiteX0" fmla="*/ 0 w 4566685"/>
                <a:gd name="connsiteY0" fmla="*/ 0 h 1217428"/>
                <a:gd name="connsiteX1" fmla="*/ 1238694 w 4566685"/>
                <a:gd name="connsiteY1" fmla="*/ 1217428 h 1217428"/>
                <a:gd name="connsiteX2" fmla="*/ 4566685 w 4566685"/>
                <a:gd name="connsiteY2" fmla="*/ 5316 h 1217428"/>
                <a:gd name="connsiteX3" fmla="*/ 0 w 4566685"/>
                <a:gd name="connsiteY3" fmla="*/ 0 h 1217428"/>
                <a:gd name="connsiteX0" fmla="*/ 0 w 4614532"/>
                <a:gd name="connsiteY0" fmla="*/ 0 h 1217428"/>
                <a:gd name="connsiteX1" fmla="*/ 1238694 w 4614532"/>
                <a:gd name="connsiteY1" fmla="*/ 1217428 h 1217428"/>
                <a:gd name="connsiteX2" fmla="*/ 4614532 w 4614532"/>
                <a:gd name="connsiteY2" fmla="*/ 5316 h 1217428"/>
                <a:gd name="connsiteX3" fmla="*/ 0 w 4614532"/>
                <a:gd name="connsiteY3" fmla="*/ 0 h 1217428"/>
                <a:gd name="connsiteX0" fmla="*/ 0 w 4614532"/>
                <a:gd name="connsiteY0" fmla="*/ 0 h 1228060"/>
                <a:gd name="connsiteX1" fmla="*/ 1286541 w 4614532"/>
                <a:gd name="connsiteY1" fmla="*/ 1228060 h 1228060"/>
                <a:gd name="connsiteX2" fmla="*/ 4614532 w 4614532"/>
                <a:gd name="connsiteY2" fmla="*/ 5316 h 1228060"/>
                <a:gd name="connsiteX3" fmla="*/ 0 w 4614532"/>
                <a:gd name="connsiteY3" fmla="*/ 0 h 1228060"/>
                <a:gd name="connsiteX0" fmla="*/ 0 w 4614532"/>
                <a:gd name="connsiteY0" fmla="*/ 10633 h 1222744"/>
                <a:gd name="connsiteX1" fmla="*/ 1286541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10633 h 1222744"/>
                <a:gd name="connsiteX0" fmla="*/ 0 w 4614532"/>
                <a:gd name="connsiteY0" fmla="*/ 10633 h 1201479"/>
                <a:gd name="connsiteX1" fmla="*/ 1238695 w 4614532"/>
                <a:gd name="connsiteY1" fmla="*/ 1201479 h 1201479"/>
                <a:gd name="connsiteX2" fmla="*/ 4614532 w 4614532"/>
                <a:gd name="connsiteY2" fmla="*/ 0 h 1201479"/>
                <a:gd name="connsiteX3" fmla="*/ 0 w 4614532"/>
                <a:gd name="connsiteY3" fmla="*/ 10633 h 1201479"/>
                <a:gd name="connsiteX0" fmla="*/ 0 w 4614532"/>
                <a:gd name="connsiteY0" fmla="*/ 10633 h 1222744"/>
                <a:gd name="connsiteX1" fmla="*/ 1249328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10633 h 1222744"/>
                <a:gd name="connsiteX0" fmla="*/ 0 w 4614532"/>
                <a:gd name="connsiteY0" fmla="*/ 0 h 1222744"/>
                <a:gd name="connsiteX1" fmla="*/ 1249328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0 h 1222744"/>
                <a:gd name="connsiteX0" fmla="*/ 0 w 4630481"/>
                <a:gd name="connsiteY0" fmla="*/ 0 h 1222744"/>
                <a:gd name="connsiteX1" fmla="*/ 1249328 w 4630481"/>
                <a:gd name="connsiteY1" fmla="*/ 1222744 h 1222744"/>
                <a:gd name="connsiteX2" fmla="*/ 4630481 w 4630481"/>
                <a:gd name="connsiteY2" fmla="*/ 0 h 1222744"/>
                <a:gd name="connsiteX3" fmla="*/ 0 w 4630481"/>
                <a:gd name="connsiteY3" fmla="*/ 0 h 1222744"/>
                <a:gd name="connsiteX0" fmla="*/ 0 w 4671425"/>
                <a:gd name="connsiteY0" fmla="*/ 0 h 1222744"/>
                <a:gd name="connsiteX1" fmla="*/ 1290272 w 4671425"/>
                <a:gd name="connsiteY1" fmla="*/ 1222744 h 1222744"/>
                <a:gd name="connsiteX2" fmla="*/ 4671425 w 4671425"/>
                <a:gd name="connsiteY2" fmla="*/ 0 h 1222744"/>
                <a:gd name="connsiteX3" fmla="*/ 0 w 4671425"/>
                <a:gd name="connsiteY3" fmla="*/ 0 h 1222744"/>
                <a:gd name="connsiteX0" fmla="*/ 0 w 4671425"/>
                <a:gd name="connsiteY0" fmla="*/ 0 h 1222744"/>
                <a:gd name="connsiteX1" fmla="*/ 1290272 w 4671425"/>
                <a:gd name="connsiteY1" fmla="*/ 1222744 h 1222744"/>
                <a:gd name="connsiteX2" fmla="*/ 4671425 w 4671425"/>
                <a:gd name="connsiteY2" fmla="*/ 614149 h 1222744"/>
                <a:gd name="connsiteX3" fmla="*/ 0 w 4671425"/>
                <a:gd name="connsiteY3" fmla="*/ 0 h 1222744"/>
                <a:gd name="connsiteX0" fmla="*/ 0 w 4657777"/>
                <a:gd name="connsiteY0" fmla="*/ 13648 h 1236392"/>
                <a:gd name="connsiteX1" fmla="*/ 1290272 w 4657777"/>
                <a:gd name="connsiteY1" fmla="*/ 1236392 h 1236392"/>
                <a:gd name="connsiteX2" fmla="*/ 4657777 w 4657777"/>
                <a:gd name="connsiteY2" fmla="*/ 0 h 1236392"/>
                <a:gd name="connsiteX3" fmla="*/ 0 w 4657777"/>
                <a:gd name="connsiteY3" fmla="*/ 13648 h 1236392"/>
                <a:gd name="connsiteX0" fmla="*/ 0 w 4644129"/>
                <a:gd name="connsiteY0" fmla="*/ 0 h 1222744"/>
                <a:gd name="connsiteX1" fmla="*/ 1290272 w 4644129"/>
                <a:gd name="connsiteY1" fmla="*/ 1222744 h 1222744"/>
                <a:gd name="connsiteX2" fmla="*/ 4644129 w 4644129"/>
                <a:gd name="connsiteY2" fmla="*/ 0 h 1222744"/>
                <a:gd name="connsiteX3" fmla="*/ 0 w 4644129"/>
                <a:gd name="connsiteY3" fmla="*/ 0 h 122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4129" h="1222744">
                  <a:moveTo>
                    <a:pt x="0" y="0"/>
                  </a:moveTo>
                  <a:lnTo>
                    <a:pt x="1290272" y="1222744"/>
                  </a:lnTo>
                  <a:lnTo>
                    <a:pt x="4644129" y="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5000">
                  <a:schemeClr val="accent2"/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reeform 8"/>
            <p:cNvSpPr/>
            <p:nvPr/>
          </p:nvSpPr>
          <p:spPr>
            <a:xfrm>
              <a:off x="4052439" y="2989173"/>
              <a:ext cx="3708351" cy="2971471"/>
            </a:xfrm>
            <a:custGeom>
              <a:avLst/>
              <a:gdLst>
                <a:gd name="connsiteX0" fmla="*/ 2291255 w 3641834"/>
                <a:gd name="connsiteY0" fmla="*/ 0 h 2958662"/>
                <a:gd name="connsiteX1" fmla="*/ 3641834 w 3641834"/>
                <a:gd name="connsiteY1" fmla="*/ 1692165 h 2958662"/>
                <a:gd name="connsiteX2" fmla="*/ 0 w 3641834"/>
                <a:gd name="connsiteY2" fmla="*/ 2958662 h 2958662"/>
                <a:gd name="connsiteX3" fmla="*/ 2291255 w 3641834"/>
                <a:gd name="connsiteY3" fmla="*/ 0 h 2958662"/>
                <a:gd name="connsiteX0" fmla="*/ 2291255 w 3641834"/>
                <a:gd name="connsiteY0" fmla="*/ 0 h 2963917"/>
                <a:gd name="connsiteX1" fmla="*/ 3641834 w 3641834"/>
                <a:gd name="connsiteY1" fmla="*/ 1697420 h 2963917"/>
                <a:gd name="connsiteX2" fmla="*/ 0 w 3641834"/>
                <a:gd name="connsiteY2" fmla="*/ 2963917 h 2963917"/>
                <a:gd name="connsiteX3" fmla="*/ 2291255 w 3641834"/>
                <a:gd name="connsiteY3" fmla="*/ 0 h 2963917"/>
                <a:gd name="connsiteX0" fmla="*/ 2301765 w 3641834"/>
                <a:gd name="connsiteY0" fmla="*/ 0 h 2948152"/>
                <a:gd name="connsiteX1" fmla="*/ 3641834 w 3641834"/>
                <a:gd name="connsiteY1" fmla="*/ 1681655 h 2948152"/>
                <a:gd name="connsiteX2" fmla="*/ 0 w 3641834"/>
                <a:gd name="connsiteY2" fmla="*/ 2948152 h 2948152"/>
                <a:gd name="connsiteX3" fmla="*/ 2301765 w 3641834"/>
                <a:gd name="connsiteY3" fmla="*/ 0 h 2948152"/>
                <a:gd name="connsiteX0" fmla="*/ 2293452 w 3641834"/>
                <a:gd name="connsiteY0" fmla="*/ 0 h 2948152"/>
                <a:gd name="connsiteX1" fmla="*/ 3641834 w 3641834"/>
                <a:gd name="connsiteY1" fmla="*/ 1681655 h 2948152"/>
                <a:gd name="connsiteX2" fmla="*/ 0 w 3641834"/>
                <a:gd name="connsiteY2" fmla="*/ 2948152 h 2948152"/>
                <a:gd name="connsiteX3" fmla="*/ 2293452 w 3641834"/>
                <a:gd name="connsiteY3" fmla="*/ 0 h 2948152"/>
                <a:gd name="connsiteX0" fmla="*/ 2305379 w 3653761"/>
                <a:gd name="connsiteY0" fmla="*/ 0 h 2944176"/>
                <a:gd name="connsiteX1" fmla="*/ 3653761 w 3653761"/>
                <a:gd name="connsiteY1" fmla="*/ 1681655 h 2944176"/>
                <a:gd name="connsiteX2" fmla="*/ 0 w 3653761"/>
                <a:gd name="connsiteY2" fmla="*/ 2944176 h 2944176"/>
                <a:gd name="connsiteX3" fmla="*/ 2305379 w 3653761"/>
                <a:gd name="connsiteY3" fmla="*/ 0 h 2944176"/>
                <a:gd name="connsiteX0" fmla="*/ 2291731 w 3653761"/>
                <a:gd name="connsiteY0" fmla="*/ 0 h 2944176"/>
                <a:gd name="connsiteX1" fmla="*/ 3653761 w 3653761"/>
                <a:gd name="connsiteY1" fmla="*/ 1681655 h 2944176"/>
                <a:gd name="connsiteX2" fmla="*/ 0 w 3653761"/>
                <a:gd name="connsiteY2" fmla="*/ 2944176 h 2944176"/>
                <a:gd name="connsiteX3" fmla="*/ 2291731 w 3653761"/>
                <a:gd name="connsiteY3" fmla="*/ 0 h 2944176"/>
                <a:gd name="connsiteX0" fmla="*/ 2305378 w 3653761"/>
                <a:gd name="connsiteY0" fmla="*/ 0 h 2971471"/>
                <a:gd name="connsiteX1" fmla="*/ 3653761 w 3653761"/>
                <a:gd name="connsiteY1" fmla="*/ 1708950 h 2971471"/>
                <a:gd name="connsiteX2" fmla="*/ 0 w 3653761"/>
                <a:gd name="connsiteY2" fmla="*/ 2971471 h 2971471"/>
                <a:gd name="connsiteX3" fmla="*/ 2305378 w 3653761"/>
                <a:gd name="connsiteY3" fmla="*/ 0 h 2971471"/>
                <a:gd name="connsiteX0" fmla="*/ 2305378 w 3694704"/>
                <a:gd name="connsiteY0" fmla="*/ 0 h 2971471"/>
                <a:gd name="connsiteX1" fmla="*/ 3694704 w 3694704"/>
                <a:gd name="connsiteY1" fmla="*/ 1722598 h 2971471"/>
                <a:gd name="connsiteX2" fmla="*/ 0 w 3694704"/>
                <a:gd name="connsiteY2" fmla="*/ 2971471 h 2971471"/>
                <a:gd name="connsiteX3" fmla="*/ 2305378 w 3694704"/>
                <a:gd name="connsiteY3" fmla="*/ 0 h 2971471"/>
                <a:gd name="connsiteX0" fmla="*/ 2319025 w 3708351"/>
                <a:gd name="connsiteY0" fmla="*/ 0 h 2971471"/>
                <a:gd name="connsiteX1" fmla="*/ 3708351 w 3708351"/>
                <a:gd name="connsiteY1" fmla="*/ 1722598 h 2971471"/>
                <a:gd name="connsiteX2" fmla="*/ 0 w 3708351"/>
                <a:gd name="connsiteY2" fmla="*/ 2971471 h 2971471"/>
                <a:gd name="connsiteX3" fmla="*/ 2319025 w 3708351"/>
                <a:gd name="connsiteY3" fmla="*/ 0 h 2971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8351" h="2971471">
                  <a:moveTo>
                    <a:pt x="2319025" y="0"/>
                  </a:moveTo>
                  <a:lnTo>
                    <a:pt x="3708351" y="1722598"/>
                  </a:lnTo>
                  <a:lnTo>
                    <a:pt x="0" y="2971471"/>
                  </a:lnTo>
                  <a:lnTo>
                    <a:pt x="231902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0" name="Freeform 9"/>
            <p:cNvSpPr/>
            <p:nvPr/>
          </p:nvSpPr>
          <p:spPr>
            <a:xfrm>
              <a:off x="-3085" y="0"/>
              <a:ext cx="3366670" cy="1804474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346198"/>
                <a:gd name="connsiteY0" fmla="*/ 0 h 1771137"/>
                <a:gd name="connsiteX1" fmla="*/ 3346198 w 3346198"/>
                <a:gd name="connsiteY1" fmla="*/ 3282 h 1771137"/>
                <a:gd name="connsiteX2" fmla="*/ 3153403 w 3346198"/>
                <a:gd name="connsiteY2" fmla="*/ 1771137 h 1771137"/>
                <a:gd name="connsiteX3" fmla="*/ 0 w 3346198"/>
                <a:gd name="connsiteY3" fmla="*/ 0 h 1771137"/>
                <a:gd name="connsiteX0" fmla="*/ 0 w 3346198"/>
                <a:gd name="connsiteY0" fmla="*/ 0 h 1766374"/>
                <a:gd name="connsiteX1" fmla="*/ 3346198 w 3346198"/>
                <a:gd name="connsiteY1" fmla="*/ 3282 h 1766374"/>
                <a:gd name="connsiteX2" fmla="*/ 3110540 w 3346198"/>
                <a:gd name="connsiteY2" fmla="*/ 1766374 h 1766374"/>
                <a:gd name="connsiteX3" fmla="*/ 0 w 3346198"/>
                <a:gd name="connsiteY3" fmla="*/ 0 h 1766374"/>
                <a:gd name="connsiteX0" fmla="*/ 0 w 3346198"/>
                <a:gd name="connsiteY0" fmla="*/ 0 h 1780662"/>
                <a:gd name="connsiteX1" fmla="*/ 3346198 w 3346198"/>
                <a:gd name="connsiteY1" fmla="*/ 3282 h 1780662"/>
                <a:gd name="connsiteX2" fmla="*/ 3091490 w 3346198"/>
                <a:gd name="connsiteY2" fmla="*/ 1780662 h 1780662"/>
                <a:gd name="connsiteX3" fmla="*/ 0 w 3346198"/>
                <a:gd name="connsiteY3" fmla="*/ 0 h 1780662"/>
                <a:gd name="connsiteX0" fmla="*/ 0 w 3346198"/>
                <a:gd name="connsiteY0" fmla="*/ 0 h 1804474"/>
                <a:gd name="connsiteX1" fmla="*/ 3346198 w 3346198"/>
                <a:gd name="connsiteY1" fmla="*/ 3282 h 1804474"/>
                <a:gd name="connsiteX2" fmla="*/ 3115303 w 3346198"/>
                <a:gd name="connsiteY2" fmla="*/ 1804474 h 1804474"/>
                <a:gd name="connsiteX3" fmla="*/ 0 w 3346198"/>
                <a:gd name="connsiteY3" fmla="*/ 0 h 1804474"/>
                <a:gd name="connsiteX0" fmla="*/ 0 w 3346198"/>
                <a:gd name="connsiteY0" fmla="*/ 10366 h 1801192"/>
                <a:gd name="connsiteX1" fmla="*/ 3346198 w 3346198"/>
                <a:gd name="connsiteY1" fmla="*/ 0 h 1801192"/>
                <a:gd name="connsiteX2" fmla="*/ 3115303 w 3346198"/>
                <a:gd name="connsiteY2" fmla="*/ 1801192 h 1801192"/>
                <a:gd name="connsiteX3" fmla="*/ 0 w 3346198"/>
                <a:gd name="connsiteY3" fmla="*/ 10366 h 1801192"/>
                <a:gd name="connsiteX0" fmla="*/ 0 w 3366670"/>
                <a:gd name="connsiteY0" fmla="*/ 0 h 1818122"/>
                <a:gd name="connsiteX1" fmla="*/ 3366670 w 3366670"/>
                <a:gd name="connsiteY1" fmla="*/ 16930 h 1818122"/>
                <a:gd name="connsiteX2" fmla="*/ 3135775 w 3366670"/>
                <a:gd name="connsiteY2" fmla="*/ 1818122 h 1818122"/>
                <a:gd name="connsiteX3" fmla="*/ 0 w 3366670"/>
                <a:gd name="connsiteY3" fmla="*/ 0 h 1818122"/>
                <a:gd name="connsiteX0" fmla="*/ 0 w 3363258"/>
                <a:gd name="connsiteY0" fmla="*/ 0 h 1811298"/>
                <a:gd name="connsiteX1" fmla="*/ 3363258 w 3363258"/>
                <a:gd name="connsiteY1" fmla="*/ 10106 h 1811298"/>
                <a:gd name="connsiteX2" fmla="*/ 3132363 w 3363258"/>
                <a:gd name="connsiteY2" fmla="*/ 1811298 h 1811298"/>
                <a:gd name="connsiteX3" fmla="*/ 0 w 3363258"/>
                <a:gd name="connsiteY3" fmla="*/ 0 h 1811298"/>
                <a:gd name="connsiteX0" fmla="*/ 0 w 3363258"/>
                <a:gd name="connsiteY0" fmla="*/ 0 h 1807886"/>
                <a:gd name="connsiteX1" fmla="*/ 3363258 w 3363258"/>
                <a:gd name="connsiteY1" fmla="*/ 6694 h 1807886"/>
                <a:gd name="connsiteX2" fmla="*/ 3132363 w 3363258"/>
                <a:gd name="connsiteY2" fmla="*/ 1807886 h 1807886"/>
                <a:gd name="connsiteX3" fmla="*/ 0 w 3363258"/>
                <a:gd name="connsiteY3" fmla="*/ 0 h 1807886"/>
                <a:gd name="connsiteX0" fmla="*/ 0 w 3363258"/>
                <a:gd name="connsiteY0" fmla="*/ 3542 h 1801192"/>
                <a:gd name="connsiteX1" fmla="*/ 3363258 w 3363258"/>
                <a:gd name="connsiteY1" fmla="*/ 0 h 1801192"/>
                <a:gd name="connsiteX2" fmla="*/ 3132363 w 3363258"/>
                <a:gd name="connsiteY2" fmla="*/ 1801192 h 1801192"/>
                <a:gd name="connsiteX3" fmla="*/ 0 w 3363258"/>
                <a:gd name="connsiteY3" fmla="*/ 3542 h 1801192"/>
                <a:gd name="connsiteX0" fmla="*/ 0 w 3366670"/>
                <a:gd name="connsiteY0" fmla="*/ 0 h 1804474"/>
                <a:gd name="connsiteX1" fmla="*/ 3366670 w 3366670"/>
                <a:gd name="connsiteY1" fmla="*/ 3282 h 1804474"/>
                <a:gd name="connsiteX2" fmla="*/ 3135775 w 3366670"/>
                <a:gd name="connsiteY2" fmla="*/ 1804474 h 1804474"/>
                <a:gd name="connsiteX3" fmla="*/ 0 w 3366670"/>
                <a:gd name="connsiteY3" fmla="*/ 0 h 180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6670" h="1804474">
                  <a:moveTo>
                    <a:pt x="0" y="0"/>
                  </a:moveTo>
                  <a:lnTo>
                    <a:pt x="3366670" y="3282"/>
                  </a:lnTo>
                  <a:lnTo>
                    <a:pt x="3135775" y="180447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9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1" name="Freeform 10"/>
            <p:cNvSpPr/>
            <p:nvPr/>
          </p:nvSpPr>
          <p:spPr>
            <a:xfrm>
              <a:off x="3111696" y="1778988"/>
              <a:ext cx="3269644" cy="3085357"/>
            </a:xfrm>
            <a:custGeom>
              <a:avLst/>
              <a:gdLst>
                <a:gd name="connsiteX0" fmla="*/ 0 w 3237186"/>
                <a:gd name="connsiteY0" fmla="*/ 0 h 3095296"/>
                <a:gd name="connsiteX1" fmla="*/ 441434 w 3237186"/>
                <a:gd name="connsiteY1" fmla="*/ 3095296 h 3095296"/>
                <a:gd name="connsiteX2" fmla="*/ 3237186 w 3237186"/>
                <a:gd name="connsiteY2" fmla="*/ 1255986 h 3095296"/>
                <a:gd name="connsiteX3" fmla="*/ 0 w 3237186"/>
                <a:gd name="connsiteY3" fmla="*/ 0 h 3095296"/>
                <a:gd name="connsiteX0" fmla="*/ 0 w 3237186"/>
                <a:gd name="connsiteY0" fmla="*/ 0 h 3109584"/>
                <a:gd name="connsiteX1" fmla="*/ 441434 w 3237186"/>
                <a:gd name="connsiteY1" fmla="*/ 3109584 h 3109584"/>
                <a:gd name="connsiteX2" fmla="*/ 3237186 w 3237186"/>
                <a:gd name="connsiteY2" fmla="*/ 1270274 h 3109584"/>
                <a:gd name="connsiteX3" fmla="*/ 0 w 3237186"/>
                <a:gd name="connsiteY3" fmla="*/ 0 h 3109584"/>
                <a:gd name="connsiteX0" fmla="*/ 0 w 3237186"/>
                <a:gd name="connsiteY0" fmla="*/ 0 h 3085764"/>
                <a:gd name="connsiteX1" fmla="*/ 441434 w 3237186"/>
                <a:gd name="connsiteY1" fmla="*/ 3085764 h 3085764"/>
                <a:gd name="connsiteX2" fmla="*/ 3237186 w 3237186"/>
                <a:gd name="connsiteY2" fmla="*/ 1246454 h 3085764"/>
                <a:gd name="connsiteX3" fmla="*/ 0 w 3237186"/>
                <a:gd name="connsiteY3" fmla="*/ 0 h 3085764"/>
                <a:gd name="connsiteX0" fmla="*/ 0 w 3255520"/>
                <a:gd name="connsiteY0" fmla="*/ 0 h 3085764"/>
                <a:gd name="connsiteX1" fmla="*/ 441434 w 3255520"/>
                <a:gd name="connsiteY1" fmla="*/ 3085764 h 3085764"/>
                <a:gd name="connsiteX2" fmla="*/ 3255520 w 3255520"/>
                <a:gd name="connsiteY2" fmla="*/ 1239108 h 3085764"/>
                <a:gd name="connsiteX3" fmla="*/ 0 w 3255520"/>
                <a:gd name="connsiteY3" fmla="*/ 0 h 3085764"/>
                <a:gd name="connsiteX0" fmla="*/ 0 w 3255520"/>
                <a:gd name="connsiteY0" fmla="*/ 0 h 3088940"/>
                <a:gd name="connsiteX1" fmla="*/ 460457 w 3255520"/>
                <a:gd name="connsiteY1" fmla="*/ 3088940 h 3088940"/>
                <a:gd name="connsiteX2" fmla="*/ 3255520 w 3255520"/>
                <a:gd name="connsiteY2" fmla="*/ 1239108 h 3088940"/>
                <a:gd name="connsiteX3" fmla="*/ 0 w 3255520"/>
                <a:gd name="connsiteY3" fmla="*/ 0 h 3088940"/>
                <a:gd name="connsiteX0" fmla="*/ 0 w 3262334"/>
                <a:gd name="connsiteY0" fmla="*/ 0 h 3088940"/>
                <a:gd name="connsiteX1" fmla="*/ 460457 w 3262334"/>
                <a:gd name="connsiteY1" fmla="*/ 3088940 h 3088940"/>
                <a:gd name="connsiteX2" fmla="*/ 3262334 w 3262334"/>
                <a:gd name="connsiteY2" fmla="*/ 1239108 h 3088940"/>
                <a:gd name="connsiteX3" fmla="*/ 0 w 3262334"/>
                <a:gd name="connsiteY3" fmla="*/ 0 h 3088940"/>
                <a:gd name="connsiteX0" fmla="*/ 0 w 3264905"/>
                <a:gd name="connsiteY0" fmla="*/ 0 h 3086363"/>
                <a:gd name="connsiteX1" fmla="*/ 463028 w 3264905"/>
                <a:gd name="connsiteY1" fmla="*/ 3086363 h 3086363"/>
                <a:gd name="connsiteX2" fmla="*/ 3264905 w 3264905"/>
                <a:gd name="connsiteY2" fmla="*/ 1236531 h 3086363"/>
                <a:gd name="connsiteX3" fmla="*/ 0 w 3264905"/>
                <a:gd name="connsiteY3" fmla="*/ 0 h 308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4905" h="3086363">
                  <a:moveTo>
                    <a:pt x="0" y="0"/>
                  </a:moveTo>
                  <a:lnTo>
                    <a:pt x="463028" y="3086363"/>
                  </a:lnTo>
                  <a:lnTo>
                    <a:pt x="3264905" y="1236531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2" name="Freeform 11"/>
            <p:cNvSpPr/>
            <p:nvPr/>
          </p:nvSpPr>
          <p:spPr>
            <a:xfrm>
              <a:off x="7713406" y="2411362"/>
              <a:ext cx="1983659" cy="4457360"/>
            </a:xfrm>
            <a:custGeom>
              <a:avLst/>
              <a:gdLst>
                <a:gd name="connsiteX0" fmla="*/ 1983659 w 1983659"/>
                <a:gd name="connsiteY0" fmla="*/ 0 h 4431891"/>
                <a:gd name="connsiteX1" fmla="*/ 1032388 w 1983659"/>
                <a:gd name="connsiteY1" fmla="*/ 4431891 h 4431891"/>
                <a:gd name="connsiteX2" fmla="*/ 0 w 1983659"/>
                <a:gd name="connsiteY2" fmla="*/ 2286000 h 4431891"/>
                <a:gd name="connsiteX3" fmla="*/ 1983659 w 1983659"/>
                <a:gd name="connsiteY3" fmla="*/ 0 h 4431891"/>
                <a:gd name="connsiteX0" fmla="*/ 1983659 w 1983659"/>
                <a:gd name="connsiteY0" fmla="*/ 0 h 4439842"/>
                <a:gd name="connsiteX1" fmla="*/ 1000583 w 1983659"/>
                <a:gd name="connsiteY1" fmla="*/ 4439842 h 4439842"/>
                <a:gd name="connsiteX2" fmla="*/ 0 w 1983659"/>
                <a:gd name="connsiteY2" fmla="*/ 2286000 h 4439842"/>
                <a:gd name="connsiteX3" fmla="*/ 1983659 w 1983659"/>
                <a:gd name="connsiteY3" fmla="*/ 0 h 4439842"/>
                <a:gd name="connsiteX0" fmla="*/ 1983659 w 1983659"/>
                <a:gd name="connsiteY0" fmla="*/ 0 h 4447794"/>
                <a:gd name="connsiteX1" fmla="*/ 1000583 w 1983659"/>
                <a:gd name="connsiteY1" fmla="*/ 4447794 h 4447794"/>
                <a:gd name="connsiteX2" fmla="*/ 0 w 1983659"/>
                <a:gd name="connsiteY2" fmla="*/ 2286000 h 4447794"/>
                <a:gd name="connsiteX3" fmla="*/ 1983659 w 1983659"/>
                <a:gd name="connsiteY3" fmla="*/ 0 h 4447794"/>
                <a:gd name="connsiteX0" fmla="*/ 1983659 w 1983659"/>
                <a:gd name="connsiteY0" fmla="*/ 0 h 4471648"/>
                <a:gd name="connsiteX1" fmla="*/ 1000583 w 1983659"/>
                <a:gd name="connsiteY1" fmla="*/ 4471648 h 4471648"/>
                <a:gd name="connsiteX2" fmla="*/ 0 w 1983659"/>
                <a:gd name="connsiteY2" fmla="*/ 2286000 h 4471648"/>
                <a:gd name="connsiteX3" fmla="*/ 1983659 w 1983659"/>
                <a:gd name="connsiteY3" fmla="*/ 0 h 4471648"/>
                <a:gd name="connsiteX0" fmla="*/ 1983659 w 1983659"/>
                <a:gd name="connsiteY0" fmla="*/ 0 h 4457360"/>
                <a:gd name="connsiteX1" fmla="*/ 995820 w 1983659"/>
                <a:gd name="connsiteY1" fmla="*/ 4457360 h 4457360"/>
                <a:gd name="connsiteX2" fmla="*/ 0 w 1983659"/>
                <a:gd name="connsiteY2" fmla="*/ 2286000 h 4457360"/>
                <a:gd name="connsiteX3" fmla="*/ 1983659 w 1983659"/>
                <a:gd name="connsiteY3" fmla="*/ 0 h 4457360"/>
                <a:gd name="connsiteX0" fmla="*/ 1983659 w 1983659"/>
                <a:gd name="connsiteY0" fmla="*/ 0 h 4457360"/>
                <a:gd name="connsiteX1" fmla="*/ 991058 w 1983659"/>
                <a:gd name="connsiteY1" fmla="*/ 4457360 h 4457360"/>
                <a:gd name="connsiteX2" fmla="*/ 0 w 1983659"/>
                <a:gd name="connsiteY2" fmla="*/ 2286000 h 4457360"/>
                <a:gd name="connsiteX3" fmla="*/ 1983659 w 1983659"/>
                <a:gd name="connsiteY3" fmla="*/ 0 h 445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3659" h="4457360">
                  <a:moveTo>
                    <a:pt x="1983659" y="0"/>
                  </a:moveTo>
                  <a:lnTo>
                    <a:pt x="991058" y="4457360"/>
                  </a:lnTo>
                  <a:lnTo>
                    <a:pt x="0" y="2286000"/>
                  </a:lnTo>
                  <a:lnTo>
                    <a:pt x="1983659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6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6341757" y="1209676"/>
              <a:ext cx="3359456" cy="1822946"/>
            </a:xfrm>
            <a:custGeom>
              <a:avLst/>
              <a:gdLst>
                <a:gd name="connsiteX0" fmla="*/ 1271587 w 3305175"/>
                <a:gd name="connsiteY0" fmla="*/ 0 h 1809750"/>
                <a:gd name="connsiteX1" fmla="*/ 3305175 w 3305175"/>
                <a:gd name="connsiteY1" fmla="*/ 1233487 h 1809750"/>
                <a:gd name="connsiteX2" fmla="*/ 0 w 3305175"/>
                <a:gd name="connsiteY2" fmla="*/ 1809750 h 1809750"/>
                <a:gd name="connsiteX3" fmla="*/ 1271587 w 3305175"/>
                <a:gd name="connsiteY3" fmla="*/ 0 h 1809750"/>
                <a:gd name="connsiteX0" fmla="*/ 1281112 w 3314700"/>
                <a:gd name="connsiteY0" fmla="*/ 0 h 1828800"/>
                <a:gd name="connsiteX1" fmla="*/ 3314700 w 3314700"/>
                <a:gd name="connsiteY1" fmla="*/ 1233487 h 1828800"/>
                <a:gd name="connsiteX2" fmla="*/ 0 w 3314700"/>
                <a:gd name="connsiteY2" fmla="*/ 1828800 h 1828800"/>
                <a:gd name="connsiteX3" fmla="*/ 1281112 w 3314700"/>
                <a:gd name="connsiteY3" fmla="*/ 0 h 1828800"/>
                <a:gd name="connsiteX0" fmla="*/ 1300162 w 3333750"/>
                <a:gd name="connsiteY0" fmla="*/ 0 h 1824037"/>
                <a:gd name="connsiteX1" fmla="*/ 3333750 w 3333750"/>
                <a:gd name="connsiteY1" fmla="*/ 1233487 h 1824037"/>
                <a:gd name="connsiteX2" fmla="*/ 0 w 3333750"/>
                <a:gd name="connsiteY2" fmla="*/ 1824037 h 1824037"/>
                <a:gd name="connsiteX3" fmla="*/ 1300162 w 3333750"/>
                <a:gd name="connsiteY3" fmla="*/ 0 h 1824037"/>
                <a:gd name="connsiteX0" fmla="*/ 1314449 w 3333750"/>
                <a:gd name="connsiteY0" fmla="*/ 0 h 1381124"/>
                <a:gd name="connsiteX1" fmla="*/ 3333750 w 3333750"/>
                <a:gd name="connsiteY1" fmla="*/ 790574 h 1381124"/>
                <a:gd name="connsiteX2" fmla="*/ 0 w 3333750"/>
                <a:gd name="connsiteY2" fmla="*/ 1381124 h 1381124"/>
                <a:gd name="connsiteX3" fmla="*/ 1314449 w 3333750"/>
                <a:gd name="connsiteY3" fmla="*/ 0 h 1381124"/>
                <a:gd name="connsiteX0" fmla="*/ 1300162 w 3333750"/>
                <a:gd name="connsiteY0" fmla="*/ 0 h 1819274"/>
                <a:gd name="connsiteX1" fmla="*/ 3333750 w 3333750"/>
                <a:gd name="connsiteY1" fmla="*/ 1228724 h 1819274"/>
                <a:gd name="connsiteX2" fmla="*/ 0 w 3333750"/>
                <a:gd name="connsiteY2" fmla="*/ 1819274 h 1819274"/>
                <a:gd name="connsiteX3" fmla="*/ 1300162 w 3333750"/>
                <a:gd name="connsiteY3" fmla="*/ 0 h 1819274"/>
                <a:gd name="connsiteX0" fmla="*/ 1300162 w 3333750"/>
                <a:gd name="connsiteY0" fmla="*/ 0 h 1819274"/>
                <a:gd name="connsiteX1" fmla="*/ 3333750 w 3333750"/>
                <a:gd name="connsiteY1" fmla="*/ 1228724 h 1819274"/>
                <a:gd name="connsiteX2" fmla="*/ 0 w 3333750"/>
                <a:gd name="connsiteY2" fmla="*/ 1819274 h 1819274"/>
                <a:gd name="connsiteX3" fmla="*/ 1300162 w 3333750"/>
                <a:gd name="connsiteY3" fmla="*/ 0 h 1819274"/>
                <a:gd name="connsiteX0" fmla="*/ 1325868 w 3359456"/>
                <a:gd name="connsiteY0" fmla="*/ 0 h 1822946"/>
                <a:gd name="connsiteX1" fmla="*/ 3359456 w 3359456"/>
                <a:gd name="connsiteY1" fmla="*/ 1228724 h 1822946"/>
                <a:gd name="connsiteX2" fmla="*/ 0 w 3359456"/>
                <a:gd name="connsiteY2" fmla="*/ 1822946 h 1822946"/>
                <a:gd name="connsiteX3" fmla="*/ 1325868 w 3359456"/>
                <a:gd name="connsiteY3" fmla="*/ 0 h 1822946"/>
                <a:gd name="connsiteX0" fmla="*/ 1325868 w 3359456"/>
                <a:gd name="connsiteY0" fmla="*/ 0 h 1822946"/>
                <a:gd name="connsiteX1" fmla="*/ 3359456 w 3359456"/>
                <a:gd name="connsiteY1" fmla="*/ 1228724 h 1822946"/>
                <a:gd name="connsiteX2" fmla="*/ 0 w 3359456"/>
                <a:gd name="connsiteY2" fmla="*/ 1822946 h 1822946"/>
                <a:gd name="connsiteX3" fmla="*/ 1325868 w 3359456"/>
                <a:gd name="connsiteY3" fmla="*/ 0 h 1822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9456" h="1822946">
                  <a:moveTo>
                    <a:pt x="1325868" y="0"/>
                  </a:moveTo>
                  <a:lnTo>
                    <a:pt x="3359456" y="1228724"/>
                  </a:lnTo>
                  <a:lnTo>
                    <a:pt x="0" y="1822946"/>
                  </a:lnTo>
                  <a:lnTo>
                    <a:pt x="132586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4" name="Freeform 13"/>
            <p:cNvSpPr/>
            <p:nvPr/>
          </p:nvSpPr>
          <p:spPr>
            <a:xfrm>
              <a:off x="-227" y="-2"/>
              <a:ext cx="1040749" cy="6875699"/>
            </a:xfrm>
            <a:custGeom>
              <a:avLst/>
              <a:gdLst>
                <a:gd name="connsiteX0" fmla="*/ 0 w 1076445"/>
                <a:gd name="connsiteY0" fmla="*/ 0 h 6817489"/>
                <a:gd name="connsiteX1" fmla="*/ 1076445 w 1076445"/>
                <a:gd name="connsiteY1" fmla="*/ 1805651 h 6817489"/>
                <a:gd name="connsiteX2" fmla="*/ 11574 w 1076445"/>
                <a:gd name="connsiteY2" fmla="*/ 6817489 h 6817489"/>
                <a:gd name="connsiteX3" fmla="*/ 0 w 1076445"/>
                <a:gd name="connsiteY3" fmla="*/ 0 h 6817489"/>
                <a:gd name="connsiteX0" fmla="*/ 0 w 873245"/>
                <a:gd name="connsiteY0" fmla="*/ 0 h 6817489"/>
                <a:gd name="connsiteX1" fmla="*/ 873245 w 873245"/>
                <a:gd name="connsiteY1" fmla="*/ 1764376 h 6817489"/>
                <a:gd name="connsiteX2" fmla="*/ 11574 w 873245"/>
                <a:gd name="connsiteY2" fmla="*/ 6817489 h 6817489"/>
                <a:gd name="connsiteX3" fmla="*/ 0 w 873245"/>
                <a:gd name="connsiteY3" fmla="*/ 0 h 6817489"/>
                <a:gd name="connsiteX0" fmla="*/ 0 w 1047870"/>
                <a:gd name="connsiteY0" fmla="*/ 0 h 6817489"/>
                <a:gd name="connsiteX1" fmla="*/ 1047870 w 1047870"/>
                <a:gd name="connsiteY1" fmla="*/ 1770726 h 6817489"/>
                <a:gd name="connsiteX2" fmla="*/ 11574 w 1047870"/>
                <a:gd name="connsiteY2" fmla="*/ 6817489 h 6817489"/>
                <a:gd name="connsiteX3" fmla="*/ 0 w 1047870"/>
                <a:gd name="connsiteY3" fmla="*/ 0 h 6817489"/>
                <a:gd name="connsiteX0" fmla="*/ 0 w 698013"/>
                <a:gd name="connsiteY0" fmla="*/ 0 h 6817489"/>
                <a:gd name="connsiteX1" fmla="*/ 698013 w 698013"/>
                <a:gd name="connsiteY1" fmla="*/ 2181752 h 6817489"/>
                <a:gd name="connsiteX2" fmla="*/ 11574 w 698013"/>
                <a:gd name="connsiteY2" fmla="*/ 6817489 h 6817489"/>
                <a:gd name="connsiteX3" fmla="*/ 0 w 698013"/>
                <a:gd name="connsiteY3" fmla="*/ 0 h 6817489"/>
                <a:gd name="connsiteX0" fmla="*/ 0 w 1039919"/>
                <a:gd name="connsiteY0" fmla="*/ 0 h 6817489"/>
                <a:gd name="connsiteX1" fmla="*/ 1039919 w 1039919"/>
                <a:gd name="connsiteY1" fmla="*/ 1762823 h 6817489"/>
                <a:gd name="connsiteX2" fmla="*/ 11574 w 1039919"/>
                <a:gd name="connsiteY2" fmla="*/ 6817489 h 6817489"/>
                <a:gd name="connsiteX3" fmla="*/ 0 w 1039919"/>
                <a:gd name="connsiteY3" fmla="*/ 0 h 6817489"/>
                <a:gd name="connsiteX0" fmla="*/ 0 w 823788"/>
                <a:gd name="connsiteY0" fmla="*/ 0 h 6817489"/>
                <a:gd name="connsiteX1" fmla="*/ 823788 w 823788"/>
                <a:gd name="connsiteY1" fmla="*/ 1820668 h 6817489"/>
                <a:gd name="connsiteX2" fmla="*/ 11574 w 823788"/>
                <a:gd name="connsiteY2" fmla="*/ 6817489 h 6817489"/>
                <a:gd name="connsiteX3" fmla="*/ 0 w 823788"/>
                <a:gd name="connsiteY3" fmla="*/ 0 h 6817489"/>
                <a:gd name="connsiteX0" fmla="*/ 0 w 1035762"/>
                <a:gd name="connsiteY0" fmla="*/ 0 h 6817489"/>
                <a:gd name="connsiteX1" fmla="*/ 1035762 w 1035762"/>
                <a:gd name="connsiteY1" fmla="*/ 1766955 h 6817489"/>
                <a:gd name="connsiteX2" fmla="*/ 11574 w 1035762"/>
                <a:gd name="connsiteY2" fmla="*/ 6817489 h 6817489"/>
                <a:gd name="connsiteX3" fmla="*/ 0 w 1035762"/>
                <a:gd name="connsiteY3" fmla="*/ 0 h 6817489"/>
                <a:gd name="connsiteX0" fmla="*/ 0 w 1040524"/>
                <a:gd name="connsiteY0" fmla="*/ 0 h 6817489"/>
                <a:gd name="connsiteX1" fmla="*/ 1040524 w 1040524"/>
                <a:gd name="connsiteY1" fmla="*/ 1762221 h 6817489"/>
                <a:gd name="connsiteX2" fmla="*/ 11574 w 1040524"/>
                <a:gd name="connsiteY2" fmla="*/ 6817489 h 6817489"/>
                <a:gd name="connsiteX3" fmla="*/ 0 w 1040524"/>
                <a:gd name="connsiteY3" fmla="*/ 0 h 6817489"/>
                <a:gd name="connsiteX0" fmla="*/ 225 w 1040749"/>
                <a:gd name="connsiteY0" fmla="*/ 0 h 6858541"/>
                <a:gd name="connsiteX1" fmla="*/ 1040749 w 1040749"/>
                <a:gd name="connsiteY1" fmla="*/ 1762221 h 6858541"/>
                <a:gd name="connsiteX2" fmla="*/ 0 w 1040749"/>
                <a:gd name="connsiteY2" fmla="*/ 6858541 h 6858541"/>
                <a:gd name="connsiteX3" fmla="*/ 225 w 1040749"/>
                <a:gd name="connsiteY3" fmla="*/ 0 h 6858541"/>
                <a:gd name="connsiteX0" fmla="*/ 225 w 1040749"/>
                <a:gd name="connsiteY0" fmla="*/ 0 h 6835083"/>
                <a:gd name="connsiteX1" fmla="*/ 1040749 w 1040749"/>
                <a:gd name="connsiteY1" fmla="*/ 1762221 h 6835083"/>
                <a:gd name="connsiteX2" fmla="*/ 0 w 1040749"/>
                <a:gd name="connsiteY2" fmla="*/ 6835083 h 6835083"/>
                <a:gd name="connsiteX3" fmla="*/ 225 w 1040749"/>
                <a:gd name="connsiteY3" fmla="*/ 0 h 683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0749" h="6835083">
                  <a:moveTo>
                    <a:pt x="225" y="0"/>
                  </a:moveTo>
                  <a:lnTo>
                    <a:pt x="1040749" y="1762221"/>
                  </a:lnTo>
                  <a:lnTo>
                    <a:pt x="0" y="6835083"/>
                  </a:lnTo>
                  <a:lnTo>
                    <a:pt x="225" y="0"/>
                  </a:lnTo>
                  <a:close/>
                </a:path>
              </a:pathLst>
            </a:custGeom>
            <a:gradFill>
              <a:gsLst>
                <a:gs pos="96000">
                  <a:schemeClr val="accent3"/>
                </a:gs>
                <a:gs pos="18000">
                  <a:schemeClr val="accent2"/>
                </a:gs>
              </a:gsLst>
              <a:lin ang="7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5" name="Freeform 14"/>
            <p:cNvSpPr/>
            <p:nvPr/>
          </p:nvSpPr>
          <p:spPr>
            <a:xfrm>
              <a:off x="3119436" y="-1"/>
              <a:ext cx="3260163" cy="3022037"/>
            </a:xfrm>
            <a:custGeom>
              <a:avLst/>
              <a:gdLst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185737 w 3228975"/>
                <a:gd name="connsiteY3" fmla="*/ 0 h 3024188"/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1976437 w 3228975"/>
                <a:gd name="connsiteY3" fmla="*/ 1776413 h 3024188"/>
                <a:gd name="connsiteX4" fmla="*/ 185737 w 3228975"/>
                <a:gd name="connsiteY4" fmla="*/ 0 h 3024188"/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2733674 w 3228975"/>
                <a:gd name="connsiteY3" fmla="*/ 1281113 h 3024188"/>
                <a:gd name="connsiteX4" fmla="*/ 185737 w 3228975"/>
                <a:gd name="connsiteY4" fmla="*/ 0 h 3024188"/>
                <a:gd name="connsiteX0" fmla="*/ 185737 w 3181350"/>
                <a:gd name="connsiteY0" fmla="*/ 0 h 2481263"/>
                <a:gd name="connsiteX1" fmla="*/ 0 w 3181350"/>
                <a:gd name="connsiteY1" fmla="*/ 1771650 h 2481263"/>
                <a:gd name="connsiteX2" fmla="*/ 3181350 w 3181350"/>
                <a:gd name="connsiteY2" fmla="*/ 2481263 h 2481263"/>
                <a:gd name="connsiteX3" fmla="*/ 2733674 w 3181350"/>
                <a:gd name="connsiteY3" fmla="*/ 1281113 h 2481263"/>
                <a:gd name="connsiteX4" fmla="*/ 185737 w 3181350"/>
                <a:gd name="connsiteY4" fmla="*/ 0 h 24812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2733674 w 3214688"/>
                <a:gd name="connsiteY3" fmla="*/ 1281113 h 3014663"/>
                <a:gd name="connsiteX4" fmla="*/ 185737 w 3214688"/>
                <a:gd name="connsiteY4" fmla="*/ 0 h 30146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2733674 w 3214688"/>
                <a:gd name="connsiteY3" fmla="*/ 1285876 h 3014663"/>
                <a:gd name="connsiteX4" fmla="*/ 185737 w 3214688"/>
                <a:gd name="connsiteY4" fmla="*/ 0 h 30146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185737 w 3214688"/>
                <a:gd name="connsiteY3" fmla="*/ 0 h 3014663"/>
                <a:gd name="connsiteX0" fmla="*/ 190500 w 3219451"/>
                <a:gd name="connsiteY0" fmla="*/ 0 h 3014663"/>
                <a:gd name="connsiteX1" fmla="*/ 0 w 3219451"/>
                <a:gd name="connsiteY1" fmla="*/ 1781175 h 3014663"/>
                <a:gd name="connsiteX2" fmla="*/ 3219451 w 3219451"/>
                <a:gd name="connsiteY2" fmla="*/ 3014663 h 3014663"/>
                <a:gd name="connsiteX3" fmla="*/ 190500 w 3219451"/>
                <a:gd name="connsiteY3" fmla="*/ 0 h 3014663"/>
                <a:gd name="connsiteX0" fmla="*/ 190500 w 3219451"/>
                <a:gd name="connsiteY0" fmla="*/ 0 h 3014663"/>
                <a:gd name="connsiteX1" fmla="*/ 0 w 3219451"/>
                <a:gd name="connsiteY1" fmla="*/ 1766887 h 3014663"/>
                <a:gd name="connsiteX2" fmla="*/ 3219451 w 3219451"/>
                <a:gd name="connsiteY2" fmla="*/ 3014663 h 3014663"/>
                <a:gd name="connsiteX3" fmla="*/ 190500 w 3219451"/>
                <a:gd name="connsiteY3" fmla="*/ 0 h 3014663"/>
                <a:gd name="connsiteX0" fmla="*/ 223838 w 3252789"/>
                <a:gd name="connsiteY0" fmla="*/ 0 h 3014663"/>
                <a:gd name="connsiteX1" fmla="*/ 0 w 3252789"/>
                <a:gd name="connsiteY1" fmla="*/ 1771650 h 3014663"/>
                <a:gd name="connsiteX2" fmla="*/ 3252789 w 3252789"/>
                <a:gd name="connsiteY2" fmla="*/ 3014663 h 3014663"/>
                <a:gd name="connsiteX3" fmla="*/ 223838 w 3252789"/>
                <a:gd name="connsiteY3" fmla="*/ 0 h 3014663"/>
                <a:gd name="connsiteX0" fmla="*/ 223838 w 3252789"/>
                <a:gd name="connsiteY0" fmla="*/ 0 h 3014663"/>
                <a:gd name="connsiteX1" fmla="*/ 0 w 3252789"/>
                <a:gd name="connsiteY1" fmla="*/ 1790700 h 3014663"/>
                <a:gd name="connsiteX2" fmla="*/ 3252789 w 3252789"/>
                <a:gd name="connsiteY2" fmla="*/ 3014663 h 3014663"/>
                <a:gd name="connsiteX3" fmla="*/ 223838 w 3252789"/>
                <a:gd name="connsiteY3" fmla="*/ 0 h 3014663"/>
                <a:gd name="connsiteX0" fmla="*/ 223838 w 3252789"/>
                <a:gd name="connsiteY0" fmla="*/ 0 h 3022037"/>
                <a:gd name="connsiteX1" fmla="*/ 0 w 3252789"/>
                <a:gd name="connsiteY1" fmla="*/ 1790700 h 3022037"/>
                <a:gd name="connsiteX2" fmla="*/ 3252789 w 3252789"/>
                <a:gd name="connsiteY2" fmla="*/ 3022037 h 3022037"/>
                <a:gd name="connsiteX3" fmla="*/ 223838 w 3252789"/>
                <a:gd name="connsiteY3" fmla="*/ 0 h 3022037"/>
                <a:gd name="connsiteX0" fmla="*/ 223838 w 3260163"/>
                <a:gd name="connsiteY0" fmla="*/ 0 h 3014663"/>
                <a:gd name="connsiteX1" fmla="*/ 0 w 3260163"/>
                <a:gd name="connsiteY1" fmla="*/ 1790700 h 3014663"/>
                <a:gd name="connsiteX2" fmla="*/ 3260163 w 3260163"/>
                <a:gd name="connsiteY2" fmla="*/ 3014663 h 3014663"/>
                <a:gd name="connsiteX3" fmla="*/ 223838 w 3260163"/>
                <a:gd name="connsiteY3" fmla="*/ 0 h 3014663"/>
                <a:gd name="connsiteX0" fmla="*/ 223838 w 3260163"/>
                <a:gd name="connsiteY0" fmla="*/ 0 h 3022037"/>
                <a:gd name="connsiteX1" fmla="*/ 0 w 3260163"/>
                <a:gd name="connsiteY1" fmla="*/ 1790700 h 3022037"/>
                <a:gd name="connsiteX2" fmla="*/ 3260163 w 3260163"/>
                <a:gd name="connsiteY2" fmla="*/ 3022037 h 3022037"/>
                <a:gd name="connsiteX3" fmla="*/ 223838 w 3260163"/>
                <a:gd name="connsiteY3" fmla="*/ 0 h 3022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0163" h="3022037">
                  <a:moveTo>
                    <a:pt x="223838" y="0"/>
                  </a:moveTo>
                  <a:lnTo>
                    <a:pt x="0" y="1790700"/>
                  </a:lnTo>
                  <a:lnTo>
                    <a:pt x="3260163" y="3022037"/>
                  </a:lnTo>
                  <a:lnTo>
                    <a:pt x="22383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6000">
                  <a:schemeClr val="accent2"/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6" name="Freeform 15"/>
            <p:cNvSpPr/>
            <p:nvPr/>
          </p:nvSpPr>
          <p:spPr>
            <a:xfrm>
              <a:off x="3343275" y="0"/>
              <a:ext cx="4337998" cy="3019426"/>
            </a:xfrm>
            <a:custGeom>
              <a:avLst/>
              <a:gdLst>
                <a:gd name="connsiteX0" fmla="*/ 0 w 4324350"/>
                <a:gd name="connsiteY0" fmla="*/ 0 h 3019426"/>
                <a:gd name="connsiteX1" fmla="*/ 4324350 w 4324350"/>
                <a:gd name="connsiteY1" fmla="*/ 1214438 h 3019426"/>
                <a:gd name="connsiteX2" fmla="*/ 3028950 w 4324350"/>
                <a:gd name="connsiteY2" fmla="*/ 3019426 h 3019426"/>
                <a:gd name="connsiteX3" fmla="*/ 0 w 4324350"/>
                <a:gd name="connsiteY3" fmla="*/ 0 h 3019426"/>
                <a:gd name="connsiteX0" fmla="*/ 0 w 4324350"/>
                <a:gd name="connsiteY0" fmla="*/ 0 h 3019426"/>
                <a:gd name="connsiteX1" fmla="*/ 4324350 w 4324350"/>
                <a:gd name="connsiteY1" fmla="*/ 1214438 h 3019426"/>
                <a:gd name="connsiteX2" fmla="*/ 3028950 w 4324350"/>
                <a:gd name="connsiteY2" fmla="*/ 3019426 h 3019426"/>
                <a:gd name="connsiteX3" fmla="*/ 0 w 4324350"/>
                <a:gd name="connsiteY3" fmla="*/ 0 h 3019426"/>
                <a:gd name="connsiteX0" fmla="*/ 0 w 4337998"/>
                <a:gd name="connsiteY0" fmla="*/ 0 h 3019426"/>
                <a:gd name="connsiteX1" fmla="*/ 4337998 w 4337998"/>
                <a:gd name="connsiteY1" fmla="*/ 1214438 h 3019426"/>
                <a:gd name="connsiteX2" fmla="*/ 3028950 w 4337998"/>
                <a:gd name="connsiteY2" fmla="*/ 3019426 h 3019426"/>
                <a:gd name="connsiteX3" fmla="*/ 0 w 4337998"/>
                <a:gd name="connsiteY3" fmla="*/ 0 h 3019426"/>
                <a:gd name="connsiteX0" fmla="*/ 0 w 4337998"/>
                <a:gd name="connsiteY0" fmla="*/ 0 h 3019426"/>
                <a:gd name="connsiteX1" fmla="*/ 4337998 w 4337998"/>
                <a:gd name="connsiteY1" fmla="*/ 1214438 h 3019426"/>
                <a:gd name="connsiteX2" fmla="*/ 3015303 w 4337998"/>
                <a:gd name="connsiteY2" fmla="*/ 3019426 h 3019426"/>
                <a:gd name="connsiteX3" fmla="*/ 0 w 4337998"/>
                <a:gd name="connsiteY3" fmla="*/ 0 h 301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7998" h="3019426">
                  <a:moveTo>
                    <a:pt x="0" y="0"/>
                  </a:moveTo>
                  <a:lnTo>
                    <a:pt x="4337998" y="1214438"/>
                  </a:lnTo>
                  <a:lnTo>
                    <a:pt x="3015303" y="301942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5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r>
                <a:rPr lang="en-US" sz="2000" dirty="0"/>
                <a:t>s</a:t>
              </a:r>
            </a:p>
          </p:txBody>
        </p:sp>
        <p:sp>
          <p:nvSpPr>
            <p:cNvPr id="17" name="Freeform 16"/>
            <p:cNvSpPr/>
            <p:nvPr/>
          </p:nvSpPr>
          <p:spPr>
            <a:xfrm>
              <a:off x="7667625" y="1"/>
              <a:ext cx="4533261" cy="1214438"/>
            </a:xfrm>
            <a:custGeom>
              <a:avLst/>
              <a:gdLst>
                <a:gd name="connsiteX0" fmla="*/ 3367088 w 4524375"/>
                <a:gd name="connsiteY0" fmla="*/ 0 h 1223963"/>
                <a:gd name="connsiteX1" fmla="*/ 0 w 4524375"/>
                <a:gd name="connsiteY1" fmla="*/ 1223963 h 1223963"/>
                <a:gd name="connsiteX2" fmla="*/ 4524375 w 4524375"/>
                <a:gd name="connsiteY2" fmla="*/ 1071563 h 1223963"/>
                <a:gd name="connsiteX3" fmla="*/ 3367088 w 4524375"/>
                <a:gd name="connsiteY3" fmla="*/ 0 h 1223963"/>
                <a:gd name="connsiteX0" fmla="*/ 3352800 w 4524375"/>
                <a:gd name="connsiteY0" fmla="*/ 0 h 1233489"/>
                <a:gd name="connsiteX1" fmla="*/ 0 w 4524375"/>
                <a:gd name="connsiteY1" fmla="*/ 1233489 h 1233489"/>
                <a:gd name="connsiteX2" fmla="*/ 4524375 w 4524375"/>
                <a:gd name="connsiteY2" fmla="*/ 1081089 h 1233489"/>
                <a:gd name="connsiteX3" fmla="*/ 3352800 w 4524375"/>
                <a:gd name="connsiteY3" fmla="*/ 0 h 1233489"/>
                <a:gd name="connsiteX0" fmla="*/ 3352800 w 4524375"/>
                <a:gd name="connsiteY0" fmla="*/ 0 h 1228726"/>
                <a:gd name="connsiteX1" fmla="*/ 0 w 4524375"/>
                <a:gd name="connsiteY1" fmla="*/ 1228726 h 1228726"/>
                <a:gd name="connsiteX2" fmla="*/ 4524375 w 4524375"/>
                <a:gd name="connsiteY2" fmla="*/ 1076326 h 1228726"/>
                <a:gd name="connsiteX3" fmla="*/ 3352800 w 4524375"/>
                <a:gd name="connsiteY3" fmla="*/ 0 h 1228726"/>
                <a:gd name="connsiteX0" fmla="*/ 3357563 w 4524375"/>
                <a:gd name="connsiteY0" fmla="*/ 0 h 1223963"/>
                <a:gd name="connsiteX1" fmla="*/ 0 w 4524375"/>
                <a:gd name="connsiteY1" fmla="*/ 1223963 h 1223963"/>
                <a:gd name="connsiteX2" fmla="*/ 4524375 w 4524375"/>
                <a:gd name="connsiteY2" fmla="*/ 1071563 h 1223963"/>
                <a:gd name="connsiteX3" fmla="*/ 3357563 w 4524375"/>
                <a:gd name="connsiteY3" fmla="*/ 0 h 1223963"/>
                <a:gd name="connsiteX0" fmla="*/ 3371851 w 4538663"/>
                <a:gd name="connsiteY0" fmla="*/ 0 h 1219200"/>
                <a:gd name="connsiteX1" fmla="*/ 0 w 4538663"/>
                <a:gd name="connsiteY1" fmla="*/ 1219200 h 1219200"/>
                <a:gd name="connsiteX2" fmla="*/ 4538663 w 4538663"/>
                <a:gd name="connsiteY2" fmla="*/ 1071563 h 1219200"/>
                <a:gd name="connsiteX3" fmla="*/ 3371851 w 4538663"/>
                <a:gd name="connsiteY3" fmla="*/ 0 h 1219200"/>
                <a:gd name="connsiteX0" fmla="*/ 3243264 w 4410076"/>
                <a:gd name="connsiteY0" fmla="*/ 0 h 1071563"/>
                <a:gd name="connsiteX1" fmla="*/ 0 w 4410076"/>
                <a:gd name="connsiteY1" fmla="*/ 1033463 h 1071563"/>
                <a:gd name="connsiteX2" fmla="*/ 4410076 w 4410076"/>
                <a:gd name="connsiteY2" fmla="*/ 1071563 h 1071563"/>
                <a:gd name="connsiteX3" fmla="*/ 3243264 w 4410076"/>
                <a:gd name="connsiteY3" fmla="*/ 0 h 1071563"/>
                <a:gd name="connsiteX0" fmla="*/ 3352801 w 4519613"/>
                <a:gd name="connsiteY0" fmla="*/ 0 h 1214438"/>
                <a:gd name="connsiteX1" fmla="*/ 0 w 4519613"/>
                <a:gd name="connsiteY1" fmla="*/ 1214438 h 1214438"/>
                <a:gd name="connsiteX2" fmla="*/ 4519613 w 4519613"/>
                <a:gd name="connsiteY2" fmla="*/ 1071563 h 1214438"/>
                <a:gd name="connsiteX3" fmla="*/ 3352801 w 4519613"/>
                <a:gd name="connsiteY3" fmla="*/ 0 h 1214438"/>
                <a:gd name="connsiteX0" fmla="*/ 3352801 w 4533261"/>
                <a:gd name="connsiteY0" fmla="*/ 0 h 1214438"/>
                <a:gd name="connsiteX1" fmla="*/ 0 w 4533261"/>
                <a:gd name="connsiteY1" fmla="*/ 1214438 h 1214438"/>
                <a:gd name="connsiteX2" fmla="*/ 4533261 w 4533261"/>
                <a:gd name="connsiteY2" fmla="*/ 1071563 h 1214438"/>
                <a:gd name="connsiteX3" fmla="*/ 3352801 w 4533261"/>
                <a:gd name="connsiteY3" fmla="*/ 0 h 1214438"/>
                <a:gd name="connsiteX0" fmla="*/ 3352801 w 4533261"/>
                <a:gd name="connsiteY0" fmla="*/ 0 h 1214438"/>
                <a:gd name="connsiteX1" fmla="*/ 0 w 4533261"/>
                <a:gd name="connsiteY1" fmla="*/ 1214438 h 1214438"/>
                <a:gd name="connsiteX2" fmla="*/ 4533261 w 4533261"/>
                <a:gd name="connsiteY2" fmla="*/ 1098859 h 1214438"/>
                <a:gd name="connsiteX3" fmla="*/ 3352801 w 4533261"/>
                <a:gd name="connsiteY3" fmla="*/ 0 h 1214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3261" h="1214438">
                  <a:moveTo>
                    <a:pt x="3352801" y="0"/>
                  </a:moveTo>
                  <a:lnTo>
                    <a:pt x="0" y="1214438"/>
                  </a:lnTo>
                  <a:lnTo>
                    <a:pt x="4533261" y="1098859"/>
                  </a:lnTo>
                  <a:lnTo>
                    <a:pt x="3352801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8" name="Freeform 17"/>
            <p:cNvSpPr/>
            <p:nvPr/>
          </p:nvSpPr>
          <p:spPr>
            <a:xfrm>
              <a:off x="11015664" y="1"/>
              <a:ext cx="1176841" cy="1098080"/>
            </a:xfrm>
            <a:custGeom>
              <a:avLst/>
              <a:gdLst>
                <a:gd name="connsiteX0" fmla="*/ 0 w 1171575"/>
                <a:gd name="connsiteY0" fmla="*/ 0 h 1076325"/>
                <a:gd name="connsiteX1" fmla="*/ 1171575 w 1171575"/>
                <a:gd name="connsiteY1" fmla="*/ 1076325 h 1076325"/>
                <a:gd name="connsiteX2" fmla="*/ 1171575 w 1171575"/>
                <a:gd name="connsiteY2" fmla="*/ 0 h 1076325"/>
                <a:gd name="connsiteX3" fmla="*/ 0 w 1171575"/>
                <a:gd name="connsiteY3" fmla="*/ 0 h 1076325"/>
                <a:gd name="connsiteX0" fmla="*/ 0 w 1171575"/>
                <a:gd name="connsiteY0" fmla="*/ 0 h 1076325"/>
                <a:gd name="connsiteX1" fmla="*/ 1171575 w 1171575"/>
                <a:gd name="connsiteY1" fmla="*/ 1076325 h 1076325"/>
                <a:gd name="connsiteX2" fmla="*/ 1171575 w 1171575"/>
                <a:gd name="connsiteY2" fmla="*/ 0 h 1076325"/>
                <a:gd name="connsiteX3" fmla="*/ 0 w 1171575"/>
                <a:gd name="connsiteY3" fmla="*/ 0 h 1076325"/>
                <a:gd name="connsiteX0" fmla="*/ 0 w 1176299"/>
                <a:gd name="connsiteY0" fmla="*/ 0 h 1085850"/>
                <a:gd name="connsiteX1" fmla="*/ 1176299 w 1176299"/>
                <a:gd name="connsiteY1" fmla="*/ 1085850 h 1085850"/>
                <a:gd name="connsiteX2" fmla="*/ 1171575 w 1176299"/>
                <a:gd name="connsiteY2" fmla="*/ 0 h 1085850"/>
                <a:gd name="connsiteX3" fmla="*/ 0 w 1176299"/>
                <a:gd name="connsiteY3" fmla="*/ 0 h 1085850"/>
                <a:gd name="connsiteX0" fmla="*/ 0 w 1181344"/>
                <a:gd name="connsiteY0" fmla="*/ 0 h 1085850"/>
                <a:gd name="connsiteX1" fmla="*/ 1176299 w 1181344"/>
                <a:gd name="connsiteY1" fmla="*/ 1085850 h 1085850"/>
                <a:gd name="connsiteX2" fmla="*/ 1181138 w 1181344"/>
                <a:gd name="connsiteY2" fmla="*/ 0 h 1085850"/>
                <a:gd name="connsiteX3" fmla="*/ 0 w 1181344"/>
                <a:gd name="connsiteY3" fmla="*/ 0 h 1085850"/>
                <a:gd name="connsiteX0" fmla="*/ 0 w 1181586"/>
                <a:gd name="connsiteY0" fmla="*/ 0 h 1081088"/>
                <a:gd name="connsiteX1" fmla="*/ 1181080 w 1181586"/>
                <a:gd name="connsiteY1" fmla="*/ 1081088 h 1081088"/>
                <a:gd name="connsiteX2" fmla="*/ 1181138 w 1181586"/>
                <a:gd name="connsiteY2" fmla="*/ 0 h 1081088"/>
                <a:gd name="connsiteX3" fmla="*/ 0 w 1181586"/>
                <a:gd name="connsiteY3" fmla="*/ 0 h 1081088"/>
                <a:gd name="connsiteX0" fmla="*/ 0 w 1181586"/>
                <a:gd name="connsiteY0" fmla="*/ 0 h 1070785"/>
                <a:gd name="connsiteX1" fmla="*/ 1181080 w 1181586"/>
                <a:gd name="connsiteY1" fmla="*/ 1070785 h 1070785"/>
                <a:gd name="connsiteX2" fmla="*/ 1181138 w 1181586"/>
                <a:gd name="connsiteY2" fmla="*/ 0 h 1070785"/>
                <a:gd name="connsiteX3" fmla="*/ 0 w 1181586"/>
                <a:gd name="connsiteY3" fmla="*/ 0 h 1070785"/>
                <a:gd name="connsiteX0" fmla="*/ 0 w 1181152"/>
                <a:gd name="connsiteY0" fmla="*/ 0 h 593113"/>
                <a:gd name="connsiteX1" fmla="*/ 1057755 w 1181152"/>
                <a:gd name="connsiteY1" fmla="*/ 593113 h 593113"/>
                <a:gd name="connsiteX2" fmla="*/ 1181138 w 1181152"/>
                <a:gd name="connsiteY2" fmla="*/ 0 h 593113"/>
                <a:gd name="connsiteX3" fmla="*/ 0 w 1181152"/>
                <a:gd name="connsiteY3" fmla="*/ 0 h 593113"/>
                <a:gd name="connsiteX0" fmla="*/ 0 w 1181586"/>
                <a:gd name="connsiteY0" fmla="*/ 0 h 1098080"/>
                <a:gd name="connsiteX1" fmla="*/ 1181081 w 1181586"/>
                <a:gd name="connsiteY1" fmla="*/ 1098080 h 1098080"/>
                <a:gd name="connsiteX2" fmla="*/ 1181138 w 1181586"/>
                <a:gd name="connsiteY2" fmla="*/ 0 h 1098080"/>
                <a:gd name="connsiteX3" fmla="*/ 0 w 1181586"/>
                <a:gd name="connsiteY3" fmla="*/ 0 h 109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1586" h="1098080">
                  <a:moveTo>
                    <a:pt x="0" y="0"/>
                  </a:moveTo>
                  <a:lnTo>
                    <a:pt x="1181081" y="1098080"/>
                  </a:lnTo>
                  <a:cubicBezTo>
                    <a:pt x="1179506" y="736130"/>
                    <a:pt x="1182713" y="361950"/>
                    <a:pt x="1181138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9" name="Freeform 18"/>
            <p:cNvSpPr/>
            <p:nvPr/>
          </p:nvSpPr>
          <p:spPr>
            <a:xfrm>
              <a:off x="10959906" y="1057275"/>
              <a:ext cx="1232552" cy="3276600"/>
            </a:xfrm>
            <a:custGeom>
              <a:avLst/>
              <a:gdLst>
                <a:gd name="connsiteX0" fmla="*/ 1171575 w 1176337"/>
                <a:gd name="connsiteY0" fmla="*/ 0 h 3267075"/>
                <a:gd name="connsiteX1" fmla="*/ 0 w 1176337"/>
                <a:gd name="connsiteY1" fmla="*/ 2762250 h 3267075"/>
                <a:gd name="connsiteX2" fmla="*/ 1176337 w 1176337"/>
                <a:gd name="connsiteY2" fmla="*/ 3267075 h 3267075"/>
                <a:gd name="connsiteX3" fmla="*/ 1171575 w 1176337"/>
                <a:gd name="connsiteY3" fmla="*/ 0 h 3267075"/>
                <a:gd name="connsiteX0" fmla="*/ 1176337 w 1176795"/>
                <a:gd name="connsiteY0" fmla="*/ 0 h 3276600"/>
                <a:gd name="connsiteX1" fmla="*/ 0 w 1176795"/>
                <a:gd name="connsiteY1" fmla="*/ 2771775 h 3276600"/>
                <a:gd name="connsiteX2" fmla="*/ 1176337 w 1176795"/>
                <a:gd name="connsiteY2" fmla="*/ 3276600 h 3276600"/>
                <a:gd name="connsiteX3" fmla="*/ 1176337 w 1176795"/>
                <a:gd name="connsiteY3" fmla="*/ 0 h 3276600"/>
                <a:gd name="connsiteX0" fmla="*/ 1209791 w 1210249"/>
                <a:gd name="connsiteY0" fmla="*/ 0 h 3276600"/>
                <a:gd name="connsiteX1" fmla="*/ 0 w 1210249"/>
                <a:gd name="connsiteY1" fmla="*/ 2771775 h 3276600"/>
                <a:gd name="connsiteX2" fmla="*/ 1209791 w 1210249"/>
                <a:gd name="connsiteY2" fmla="*/ 3276600 h 3276600"/>
                <a:gd name="connsiteX3" fmla="*/ 1209791 w 1210249"/>
                <a:gd name="connsiteY3" fmla="*/ 0 h 3276600"/>
                <a:gd name="connsiteX0" fmla="*/ 1232094 w 1232552"/>
                <a:gd name="connsiteY0" fmla="*/ 0 h 3276600"/>
                <a:gd name="connsiteX1" fmla="*/ 0 w 1232552"/>
                <a:gd name="connsiteY1" fmla="*/ 2749472 h 3276600"/>
                <a:gd name="connsiteX2" fmla="*/ 1232094 w 1232552"/>
                <a:gd name="connsiteY2" fmla="*/ 3276600 h 3276600"/>
                <a:gd name="connsiteX3" fmla="*/ 1232094 w 1232552"/>
                <a:gd name="connsiteY3" fmla="*/ 0 h 3276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552" h="3276600">
                  <a:moveTo>
                    <a:pt x="1232094" y="0"/>
                  </a:moveTo>
                  <a:lnTo>
                    <a:pt x="0" y="2749472"/>
                  </a:lnTo>
                  <a:lnTo>
                    <a:pt x="1232094" y="3276600"/>
                  </a:lnTo>
                  <a:cubicBezTo>
                    <a:pt x="1230507" y="2187575"/>
                    <a:pt x="1233681" y="1089025"/>
                    <a:pt x="1232094" y="0"/>
                  </a:cubicBez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0" name="Freeform 19"/>
            <p:cNvSpPr/>
            <p:nvPr/>
          </p:nvSpPr>
          <p:spPr>
            <a:xfrm>
              <a:off x="6366969" y="2428875"/>
              <a:ext cx="3339005" cy="2271713"/>
            </a:xfrm>
            <a:custGeom>
              <a:avLst/>
              <a:gdLst>
                <a:gd name="connsiteX0" fmla="*/ 0 w 3324225"/>
                <a:gd name="connsiteY0" fmla="*/ 590550 h 2271713"/>
                <a:gd name="connsiteX1" fmla="*/ 1343025 w 3324225"/>
                <a:gd name="connsiteY1" fmla="*/ 2271713 h 2271713"/>
                <a:gd name="connsiteX2" fmla="*/ 3324225 w 3324225"/>
                <a:gd name="connsiteY2" fmla="*/ 0 h 2271713"/>
                <a:gd name="connsiteX3" fmla="*/ 0 w 3324225"/>
                <a:gd name="connsiteY3" fmla="*/ 590550 h 2271713"/>
                <a:gd name="connsiteX0" fmla="*/ 0 w 3333750"/>
                <a:gd name="connsiteY0" fmla="*/ 585787 h 2271713"/>
                <a:gd name="connsiteX1" fmla="*/ 1352550 w 3333750"/>
                <a:gd name="connsiteY1" fmla="*/ 2271713 h 2271713"/>
                <a:gd name="connsiteX2" fmla="*/ 3333750 w 3333750"/>
                <a:gd name="connsiteY2" fmla="*/ 0 h 2271713"/>
                <a:gd name="connsiteX3" fmla="*/ 0 w 3333750"/>
                <a:gd name="connsiteY3" fmla="*/ 585787 h 2271713"/>
                <a:gd name="connsiteX0" fmla="*/ 0 w 3333750"/>
                <a:gd name="connsiteY0" fmla="*/ 591043 h 2271713"/>
                <a:gd name="connsiteX1" fmla="*/ 1352550 w 3333750"/>
                <a:gd name="connsiteY1" fmla="*/ 2271713 h 2271713"/>
                <a:gd name="connsiteX2" fmla="*/ 3333750 w 3333750"/>
                <a:gd name="connsiteY2" fmla="*/ 0 h 2271713"/>
                <a:gd name="connsiteX3" fmla="*/ 0 w 3333750"/>
                <a:gd name="connsiteY3" fmla="*/ 591043 h 2271713"/>
                <a:gd name="connsiteX0" fmla="*/ 0 w 3339005"/>
                <a:gd name="connsiteY0" fmla="*/ 591043 h 2271713"/>
                <a:gd name="connsiteX1" fmla="*/ 1357805 w 3339005"/>
                <a:gd name="connsiteY1" fmla="*/ 2271713 h 2271713"/>
                <a:gd name="connsiteX2" fmla="*/ 3339005 w 3339005"/>
                <a:gd name="connsiteY2" fmla="*/ 0 h 2271713"/>
                <a:gd name="connsiteX3" fmla="*/ 0 w 3339005"/>
                <a:gd name="connsiteY3" fmla="*/ 591043 h 227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9005" h="2271713">
                  <a:moveTo>
                    <a:pt x="0" y="591043"/>
                  </a:moveTo>
                  <a:lnTo>
                    <a:pt x="1357805" y="2271713"/>
                  </a:lnTo>
                  <a:lnTo>
                    <a:pt x="3339005" y="0"/>
                  </a:lnTo>
                  <a:lnTo>
                    <a:pt x="0" y="591043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1" name="Freeform 20"/>
            <p:cNvSpPr/>
            <p:nvPr/>
          </p:nvSpPr>
          <p:spPr>
            <a:xfrm>
              <a:off x="1025774" y="1761707"/>
              <a:ext cx="2098477" cy="1910094"/>
            </a:xfrm>
            <a:custGeom>
              <a:avLst/>
              <a:gdLst>
                <a:gd name="connsiteX0" fmla="*/ 2086304 w 2086304"/>
                <a:gd name="connsiteY0" fmla="*/ 0 h 1886607"/>
                <a:gd name="connsiteX1" fmla="*/ 0 w 2086304"/>
                <a:gd name="connsiteY1" fmla="*/ 15765 h 1886607"/>
                <a:gd name="connsiteX2" fmla="*/ 362607 w 2086304"/>
                <a:gd name="connsiteY2" fmla="*/ 1886607 h 1886607"/>
                <a:gd name="connsiteX3" fmla="*/ 2086304 w 2086304"/>
                <a:gd name="connsiteY3" fmla="*/ 0 h 1886607"/>
                <a:gd name="connsiteX0" fmla="*/ 2101053 w 2101053"/>
                <a:gd name="connsiteY0" fmla="*/ 0 h 1886607"/>
                <a:gd name="connsiteX1" fmla="*/ 0 w 2101053"/>
                <a:gd name="connsiteY1" fmla="*/ 1207 h 1886607"/>
                <a:gd name="connsiteX2" fmla="*/ 377356 w 2101053"/>
                <a:gd name="connsiteY2" fmla="*/ 1886607 h 1886607"/>
                <a:gd name="connsiteX3" fmla="*/ 2101053 w 2101053"/>
                <a:gd name="connsiteY3" fmla="*/ 0 h 1886607"/>
                <a:gd name="connsiteX0" fmla="*/ 2098477 w 2098477"/>
                <a:gd name="connsiteY0" fmla="*/ 8963 h 1885400"/>
                <a:gd name="connsiteX1" fmla="*/ 0 w 2098477"/>
                <a:gd name="connsiteY1" fmla="*/ 0 h 1885400"/>
                <a:gd name="connsiteX2" fmla="*/ 377356 w 2098477"/>
                <a:gd name="connsiteY2" fmla="*/ 1885400 h 1885400"/>
                <a:gd name="connsiteX3" fmla="*/ 2098477 w 2098477"/>
                <a:gd name="connsiteY3" fmla="*/ 8963 h 188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8477" h="1885400">
                  <a:moveTo>
                    <a:pt x="2098477" y="8963"/>
                  </a:moveTo>
                  <a:lnTo>
                    <a:pt x="0" y="0"/>
                  </a:lnTo>
                  <a:lnTo>
                    <a:pt x="377356" y="1885400"/>
                  </a:lnTo>
                  <a:lnTo>
                    <a:pt x="2098477" y="8963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8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2" name="Freeform 21"/>
            <p:cNvSpPr/>
            <p:nvPr/>
          </p:nvSpPr>
          <p:spPr>
            <a:xfrm>
              <a:off x="3532" y="4857972"/>
              <a:ext cx="4090198" cy="2007612"/>
            </a:xfrm>
            <a:custGeom>
              <a:avLst/>
              <a:gdLst>
                <a:gd name="connsiteX0" fmla="*/ 3576398 w 4077729"/>
                <a:gd name="connsiteY0" fmla="*/ 0 h 1994733"/>
                <a:gd name="connsiteX1" fmla="*/ 4077729 w 4077729"/>
                <a:gd name="connsiteY1" fmla="*/ 1101516 h 1994733"/>
                <a:gd name="connsiteX2" fmla="*/ 0 w 4077729"/>
                <a:gd name="connsiteY2" fmla="*/ 1994733 h 1994733"/>
                <a:gd name="connsiteX3" fmla="*/ 3576398 w 4077729"/>
                <a:gd name="connsiteY3" fmla="*/ 0 h 1994733"/>
                <a:gd name="connsiteX0" fmla="*/ 3576398 w 4086042"/>
                <a:gd name="connsiteY0" fmla="*/ 0 h 1994733"/>
                <a:gd name="connsiteX1" fmla="*/ 4086042 w 4086042"/>
                <a:gd name="connsiteY1" fmla="*/ 1093204 h 1994733"/>
                <a:gd name="connsiteX2" fmla="*/ 0 w 4086042"/>
                <a:gd name="connsiteY2" fmla="*/ 1994733 h 1994733"/>
                <a:gd name="connsiteX3" fmla="*/ 3576398 w 4086042"/>
                <a:gd name="connsiteY3" fmla="*/ 0 h 1994733"/>
                <a:gd name="connsiteX0" fmla="*/ 3576398 w 4090198"/>
                <a:gd name="connsiteY0" fmla="*/ 0 h 1994733"/>
                <a:gd name="connsiteX1" fmla="*/ 4090198 w 4090198"/>
                <a:gd name="connsiteY1" fmla="*/ 1084892 h 1994733"/>
                <a:gd name="connsiteX2" fmla="*/ 0 w 4090198"/>
                <a:gd name="connsiteY2" fmla="*/ 1994733 h 1994733"/>
                <a:gd name="connsiteX3" fmla="*/ 3576398 w 4090198"/>
                <a:gd name="connsiteY3" fmla="*/ 0 h 1994733"/>
                <a:gd name="connsiteX0" fmla="*/ 3576398 w 4090198"/>
                <a:gd name="connsiteY0" fmla="*/ 0 h 2007612"/>
                <a:gd name="connsiteX1" fmla="*/ 4090198 w 4090198"/>
                <a:gd name="connsiteY1" fmla="*/ 1084892 h 2007612"/>
                <a:gd name="connsiteX2" fmla="*/ 0 w 4090198"/>
                <a:gd name="connsiteY2" fmla="*/ 2007612 h 2007612"/>
                <a:gd name="connsiteX3" fmla="*/ 3576398 w 4090198"/>
                <a:gd name="connsiteY3" fmla="*/ 0 h 2007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0198" h="2007612">
                  <a:moveTo>
                    <a:pt x="3576398" y="0"/>
                  </a:moveTo>
                  <a:lnTo>
                    <a:pt x="4090198" y="1084892"/>
                  </a:lnTo>
                  <a:lnTo>
                    <a:pt x="0" y="2007612"/>
                  </a:lnTo>
                  <a:lnTo>
                    <a:pt x="357639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3" name="Freeform 22"/>
            <p:cNvSpPr/>
            <p:nvPr/>
          </p:nvSpPr>
          <p:spPr>
            <a:xfrm>
              <a:off x="-6301" y="5938309"/>
              <a:ext cx="4092304" cy="924304"/>
            </a:xfrm>
            <a:custGeom>
              <a:avLst/>
              <a:gdLst>
                <a:gd name="connsiteX0" fmla="*/ 4074199 w 4074199"/>
                <a:gd name="connsiteY0" fmla="*/ 0 h 907339"/>
                <a:gd name="connsiteX1" fmla="*/ 3357507 w 4074199"/>
                <a:gd name="connsiteY1" fmla="*/ 907339 h 907339"/>
                <a:gd name="connsiteX2" fmla="*/ 0 w 4074199"/>
                <a:gd name="connsiteY2" fmla="*/ 907339 h 907339"/>
                <a:gd name="connsiteX3" fmla="*/ 4074199 w 4074199"/>
                <a:gd name="connsiteY3" fmla="*/ 0 h 907339"/>
                <a:gd name="connsiteX0" fmla="*/ 4084791 w 4084791"/>
                <a:gd name="connsiteY0" fmla="*/ 0 h 907339"/>
                <a:gd name="connsiteX1" fmla="*/ 3368099 w 4084791"/>
                <a:gd name="connsiteY1" fmla="*/ 907339 h 907339"/>
                <a:gd name="connsiteX2" fmla="*/ 0 w 4084791"/>
                <a:gd name="connsiteY2" fmla="*/ 907339 h 907339"/>
                <a:gd name="connsiteX3" fmla="*/ 4084791 w 4084791"/>
                <a:gd name="connsiteY3" fmla="*/ 0 h 907339"/>
                <a:gd name="connsiteX0" fmla="*/ 4100031 w 4100031"/>
                <a:gd name="connsiteY0" fmla="*/ 0 h 907339"/>
                <a:gd name="connsiteX1" fmla="*/ 3368099 w 4100031"/>
                <a:gd name="connsiteY1" fmla="*/ 907339 h 907339"/>
                <a:gd name="connsiteX2" fmla="*/ 0 w 4100031"/>
                <a:gd name="connsiteY2" fmla="*/ 907339 h 907339"/>
                <a:gd name="connsiteX3" fmla="*/ 4100031 w 4100031"/>
                <a:gd name="connsiteY3" fmla="*/ 0 h 907339"/>
                <a:gd name="connsiteX0" fmla="*/ 4102607 w 4102607"/>
                <a:gd name="connsiteY0" fmla="*/ 0 h 907339"/>
                <a:gd name="connsiteX1" fmla="*/ 3370675 w 4102607"/>
                <a:gd name="connsiteY1" fmla="*/ 907339 h 907339"/>
                <a:gd name="connsiteX2" fmla="*/ 0 w 4102607"/>
                <a:gd name="connsiteY2" fmla="*/ 857464 h 907339"/>
                <a:gd name="connsiteX3" fmla="*/ 4102607 w 4102607"/>
                <a:gd name="connsiteY3" fmla="*/ 0 h 907339"/>
                <a:gd name="connsiteX0" fmla="*/ 4097455 w 4097455"/>
                <a:gd name="connsiteY0" fmla="*/ 0 h 907339"/>
                <a:gd name="connsiteX1" fmla="*/ 3365523 w 4097455"/>
                <a:gd name="connsiteY1" fmla="*/ 907339 h 907339"/>
                <a:gd name="connsiteX2" fmla="*/ 0 w 4097455"/>
                <a:gd name="connsiteY2" fmla="*/ 859958 h 907339"/>
                <a:gd name="connsiteX3" fmla="*/ 4097455 w 4097455"/>
                <a:gd name="connsiteY3" fmla="*/ 0 h 907339"/>
                <a:gd name="connsiteX0" fmla="*/ 4097455 w 4097455"/>
                <a:gd name="connsiteY0" fmla="*/ 0 h 862451"/>
                <a:gd name="connsiteX1" fmla="*/ 3411887 w 4097455"/>
                <a:gd name="connsiteY1" fmla="*/ 862451 h 862451"/>
                <a:gd name="connsiteX2" fmla="*/ 0 w 4097455"/>
                <a:gd name="connsiteY2" fmla="*/ 859958 h 862451"/>
                <a:gd name="connsiteX3" fmla="*/ 4097455 w 4097455"/>
                <a:gd name="connsiteY3" fmla="*/ 0 h 862451"/>
                <a:gd name="connsiteX0" fmla="*/ 4089728 w 4089728"/>
                <a:gd name="connsiteY0" fmla="*/ 0 h 892377"/>
                <a:gd name="connsiteX1" fmla="*/ 3411887 w 4089728"/>
                <a:gd name="connsiteY1" fmla="*/ 892377 h 892377"/>
                <a:gd name="connsiteX2" fmla="*/ 0 w 4089728"/>
                <a:gd name="connsiteY2" fmla="*/ 889884 h 892377"/>
                <a:gd name="connsiteX3" fmla="*/ 4089728 w 4089728"/>
                <a:gd name="connsiteY3" fmla="*/ 0 h 892377"/>
                <a:gd name="connsiteX0" fmla="*/ 4089728 w 4089728"/>
                <a:gd name="connsiteY0" fmla="*/ 0 h 892377"/>
                <a:gd name="connsiteX1" fmla="*/ 3424766 w 4089728"/>
                <a:gd name="connsiteY1" fmla="*/ 892377 h 892377"/>
                <a:gd name="connsiteX2" fmla="*/ 0 w 4089728"/>
                <a:gd name="connsiteY2" fmla="*/ 889884 h 892377"/>
                <a:gd name="connsiteX3" fmla="*/ 4089728 w 4089728"/>
                <a:gd name="connsiteY3" fmla="*/ 0 h 892377"/>
                <a:gd name="connsiteX0" fmla="*/ 4089728 w 4089728"/>
                <a:gd name="connsiteY0" fmla="*/ 0 h 889884"/>
                <a:gd name="connsiteX1" fmla="*/ 3360372 w 4089728"/>
                <a:gd name="connsiteY1" fmla="*/ 889884 h 889884"/>
                <a:gd name="connsiteX2" fmla="*/ 0 w 4089728"/>
                <a:gd name="connsiteY2" fmla="*/ 889884 h 889884"/>
                <a:gd name="connsiteX3" fmla="*/ 4089728 w 4089728"/>
                <a:gd name="connsiteY3" fmla="*/ 0 h 889884"/>
                <a:gd name="connsiteX0" fmla="*/ 4079425 w 4079425"/>
                <a:gd name="connsiteY0" fmla="*/ 0 h 889884"/>
                <a:gd name="connsiteX1" fmla="*/ 3350069 w 4079425"/>
                <a:gd name="connsiteY1" fmla="*/ 889884 h 889884"/>
                <a:gd name="connsiteX2" fmla="*/ 0 w 4079425"/>
                <a:gd name="connsiteY2" fmla="*/ 882403 h 889884"/>
                <a:gd name="connsiteX3" fmla="*/ 4079425 w 4079425"/>
                <a:gd name="connsiteY3" fmla="*/ 0 h 889884"/>
                <a:gd name="connsiteX0" fmla="*/ 4082000 w 4082000"/>
                <a:gd name="connsiteY0" fmla="*/ 0 h 889884"/>
                <a:gd name="connsiteX1" fmla="*/ 3352644 w 4082000"/>
                <a:gd name="connsiteY1" fmla="*/ 889884 h 889884"/>
                <a:gd name="connsiteX2" fmla="*/ 0 w 4082000"/>
                <a:gd name="connsiteY2" fmla="*/ 882403 h 889884"/>
                <a:gd name="connsiteX3" fmla="*/ 4082000 w 4082000"/>
                <a:gd name="connsiteY3" fmla="*/ 0 h 889884"/>
                <a:gd name="connsiteX0" fmla="*/ 4087152 w 4087152"/>
                <a:gd name="connsiteY0" fmla="*/ 0 h 1007091"/>
                <a:gd name="connsiteX1" fmla="*/ 3357796 w 4087152"/>
                <a:gd name="connsiteY1" fmla="*/ 889884 h 1007091"/>
                <a:gd name="connsiteX2" fmla="*/ 0 w 4087152"/>
                <a:gd name="connsiteY2" fmla="*/ 1007091 h 1007091"/>
                <a:gd name="connsiteX3" fmla="*/ 4087152 w 4087152"/>
                <a:gd name="connsiteY3" fmla="*/ 0 h 1007091"/>
                <a:gd name="connsiteX0" fmla="*/ 4092304 w 4092304"/>
                <a:gd name="connsiteY0" fmla="*/ 0 h 894872"/>
                <a:gd name="connsiteX1" fmla="*/ 3362948 w 4092304"/>
                <a:gd name="connsiteY1" fmla="*/ 889884 h 894872"/>
                <a:gd name="connsiteX2" fmla="*/ 0 w 4092304"/>
                <a:gd name="connsiteY2" fmla="*/ 894872 h 894872"/>
                <a:gd name="connsiteX3" fmla="*/ 4092304 w 4092304"/>
                <a:gd name="connsiteY3" fmla="*/ 0 h 894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2304" h="894872">
                  <a:moveTo>
                    <a:pt x="4092304" y="0"/>
                  </a:moveTo>
                  <a:lnTo>
                    <a:pt x="3362948" y="889884"/>
                  </a:lnTo>
                  <a:lnTo>
                    <a:pt x="0" y="894872"/>
                  </a:lnTo>
                  <a:lnTo>
                    <a:pt x="4092304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4" name="Freeform 23"/>
            <p:cNvSpPr/>
            <p:nvPr/>
          </p:nvSpPr>
          <p:spPr>
            <a:xfrm>
              <a:off x="4102443" y="4914459"/>
              <a:ext cx="547228" cy="151811"/>
            </a:xfrm>
            <a:custGeom>
              <a:avLst/>
              <a:gdLst>
                <a:gd name="connsiteX0" fmla="*/ 0 w 547228"/>
                <a:gd name="connsiteY0" fmla="*/ 0 h 151811"/>
                <a:gd name="connsiteX1" fmla="*/ 547228 w 547228"/>
                <a:gd name="connsiteY1" fmla="*/ 70610 h 151811"/>
                <a:gd name="connsiteX2" fmla="*/ 526045 w 547228"/>
                <a:gd name="connsiteY2" fmla="*/ 151811 h 151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7228" h="151811">
                  <a:moveTo>
                    <a:pt x="0" y="0"/>
                  </a:moveTo>
                  <a:lnTo>
                    <a:pt x="547228" y="70610"/>
                  </a:lnTo>
                  <a:lnTo>
                    <a:pt x="526045" y="151811"/>
                  </a:lnTo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reeform 24"/>
            <p:cNvSpPr/>
            <p:nvPr/>
          </p:nvSpPr>
          <p:spPr>
            <a:xfrm>
              <a:off x="3317876" y="5936217"/>
              <a:ext cx="5416584" cy="930949"/>
            </a:xfrm>
            <a:custGeom>
              <a:avLst/>
              <a:gdLst>
                <a:gd name="connsiteX0" fmla="*/ 683287 w 5365819"/>
                <a:gd name="connsiteY0" fmla="*/ 0 h 914400"/>
                <a:gd name="connsiteX1" fmla="*/ 5365819 w 5365819"/>
                <a:gd name="connsiteY1" fmla="*/ 904351 h 914400"/>
                <a:gd name="connsiteX2" fmla="*/ 0 w 5365819"/>
                <a:gd name="connsiteY2" fmla="*/ 914400 h 914400"/>
                <a:gd name="connsiteX3" fmla="*/ 683287 w 5365819"/>
                <a:gd name="connsiteY3" fmla="*/ 0 h 914400"/>
                <a:gd name="connsiteX0" fmla="*/ 711531 w 5394063"/>
                <a:gd name="connsiteY0" fmla="*/ 0 h 917930"/>
                <a:gd name="connsiteX1" fmla="*/ 5394063 w 5394063"/>
                <a:gd name="connsiteY1" fmla="*/ 904351 h 917930"/>
                <a:gd name="connsiteX2" fmla="*/ 0 w 5394063"/>
                <a:gd name="connsiteY2" fmla="*/ 917930 h 917930"/>
                <a:gd name="connsiteX3" fmla="*/ 711531 w 5394063"/>
                <a:gd name="connsiteY3" fmla="*/ 0 h 917930"/>
                <a:gd name="connsiteX0" fmla="*/ 725653 w 5394063"/>
                <a:gd name="connsiteY0" fmla="*/ 0 h 910869"/>
                <a:gd name="connsiteX1" fmla="*/ 5394063 w 5394063"/>
                <a:gd name="connsiteY1" fmla="*/ 897290 h 910869"/>
                <a:gd name="connsiteX2" fmla="*/ 0 w 5394063"/>
                <a:gd name="connsiteY2" fmla="*/ 910869 h 910869"/>
                <a:gd name="connsiteX3" fmla="*/ 725653 w 5394063"/>
                <a:gd name="connsiteY3" fmla="*/ 0 h 910869"/>
                <a:gd name="connsiteX0" fmla="*/ 725653 w 5376410"/>
                <a:gd name="connsiteY0" fmla="*/ 0 h 910869"/>
                <a:gd name="connsiteX1" fmla="*/ 5376410 w 5376410"/>
                <a:gd name="connsiteY1" fmla="*/ 907881 h 910869"/>
                <a:gd name="connsiteX2" fmla="*/ 0 w 5376410"/>
                <a:gd name="connsiteY2" fmla="*/ 910869 h 910869"/>
                <a:gd name="connsiteX3" fmla="*/ 725653 w 5376410"/>
                <a:gd name="connsiteY3" fmla="*/ 0 h 910869"/>
                <a:gd name="connsiteX0" fmla="*/ 783842 w 5376410"/>
                <a:gd name="connsiteY0" fmla="*/ 0 h 765396"/>
                <a:gd name="connsiteX1" fmla="*/ 5376410 w 5376410"/>
                <a:gd name="connsiteY1" fmla="*/ 762408 h 765396"/>
                <a:gd name="connsiteX2" fmla="*/ 0 w 5376410"/>
                <a:gd name="connsiteY2" fmla="*/ 765396 h 765396"/>
                <a:gd name="connsiteX3" fmla="*/ 783842 w 5376410"/>
                <a:gd name="connsiteY3" fmla="*/ 0 h 765396"/>
                <a:gd name="connsiteX0" fmla="*/ 729810 w 5376410"/>
                <a:gd name="connsiteY0" fmla="*/ 0 h 910869"/>
                <a:gd name="connsiteX1" fmla="*/ 5376410 w 5376410"/>
                <a:gd name="connsiteY1" fmla="*/ 907881 h 910869"/>
                <a:gd name="connsiteX2" fmla="*/ 0 w 5376410"/>
                <a:gd name="connsiteY2" fmla="*/ 910869 h 910869"/>
                <a:gd name="connsiteX3" fmla="*/ 729810 w 5376410"/>
                <a:gd name="connsiteY3" fmla="*/ 0 h 910869"/>
                <a:gd name="connsiteX0" fmla="*/ 714570 w 5376410"/>
                <a:gd name="connsiteY0" fmla="*/ 0 h 918489"/>
                <a:gd name="connsiteX1" fmla="*/ 5376410 w 5376410"/>
                <a:gd name="connsiteY1" fmla="*/ 915501 h 918489"/>
                <a:gd name="connsiteX2" fmla="*/ 0 w 5376410"/>
                <a:gd name="connsiteY2" fmla="*/ 918489 h 918489"/>
                <a:gd name="connsiteX3" fmla="*/ 714570 w 5376410"/>
                <a:gd name="connsiteY3" fmla="*/ 0 h 918489"/>
                <a:gd name="connsiteX0" fmla="*/ 809820 w 5376410"/>
                <a:gd name="connsiteY0" fmla="*/ 0 h 758469"/>
                <a:gd name="connsiteX1" fmla="*/ 5376410 w 5376410"/>
                <a:gd name="connsiteY1" fmla="*/ 755481 h 758469"/>
                <a:gd name="connsiteX2" fmla="*/ 0 w 5376410"/>
                <a:gd name="connsiteY2" fmla="*/ 758469 h 758469"/>
                <a:gd name="connsiteX3" fmla="*/ 809820 w 5376410"/>
                <a:gd name="connsiteY3" fmla="*/ 0 h 758469"/>
                <a:gd name="connsiteX0" fmla="*/ 710760 w 5376410"/>
                <a:gd name="connsiteY0" fmla="*/ 0 h 918489"/>
                <a:gd name="connsiteX1" fmla="*/ 5376410 w 5376410"/>
                <a:gd name="connsiteY1" fmla="*/ 915501 h 918489"/>
                <a:gd name="connsiteX2" fmla="*/ 0 w 5376410"/>
                <a:gd name="connsiteY2" fmla="*/ 918489 h 918489"/>
                <a:gd name="connsiteX3" fmla="*/ 710760 w 5376410"/>
                <a:gd name="connsiteY3" fmla="*/ 0 h 918489"/>
                <a:gd name="connsiteX0" fmla="*/ 722190 w 5376410"/>
                <a:gd name="connsiteY0" fmla="*/ 0 h 914679"/>
                <a:gd name="connsiteX1" fmla="*/ 5376410 w 5376410"/>
                <a:gd name="connsiteY1" fmla="*/ 911691 h 914679"/>
                <a:gd name="connsiteX2" fmla="*/ 0 w 5376410"/>
                <a:gd name="connsiteY2" fmla="*/ 914679 h 914679"/>
                <a:gd name="connsiteX3" fmla="*/ 722190 w 5376410"/>
                <a:gd name="connsiteY3" fmla="*/ 0 h 914679"/>
                <a:gd name="connsiteX0" fmla="*/ 735069 w 5389289"/>
                <a:gd name="connsiteY0" fmla="*/ 0 h 912104"/>
                <a:gd name="connsiteX1" fmla="*/ 5389289 w 5389289"/>
                <a:gd name="connsiteY1" fmla="*/ 911691 h 912104"/>
                <a:gd name="connsiteX2" fmla="*/ 0 w 5389289"/>
                <a:gd name="connsiteY2" fmla="*/ 912104 h 912104"/>
                <a:gd name="connsiteX3" fmla="*/ 735069 w 5389289"/>
                <a:gd name="connsiteY3" fmla="*/ 0 h 912104"/>
                <a:gd name="connsiteX0" fmla="*/ 735069 w 5389289"/>
                <a:gd name="connsiteY0" fmla="*/ 0 h 925339"/>
                <a:gd name="connsiteX1" fmla="*/ 5389289 w 5389289"/>
                <a:gd name="connsiteY1" fmla="*/ 925339 h 925339"/>
                <a:gd name="connsiteX2" fmla="*/ 0 w 5389289"/>
                <a:gd name="connsiteY2" fmla="*/ 912104 h 925339"/>
                <a:gd name="connsiteX3" fmla="*/ 735069 w 5389289"/>
                <a:gd name="connsiteY3" fmla="*/ 0 h 925339"/>
                <a:gd name="connsiteX0" fmla="*/ 762364 w 5416584"/>
                <a:gd name="connsiteY0" fmla="*/ 0 h 939400"/>
                <a:gd name="connsiteX1" fmla="*/ 5416584 w 5416584"/>
                <a:gd name="connsiteY1" fmla="*/ 925339 h 939400"/>
                <a:gd name="connsiteX2" fmla="*/ 0 w 5416584"/>
                <a:gd name="connsiteY2" fmla="*/ 939400 h 939400"/>
                <a:gd name="connsiteX3" fmla="*/ 762364 w 5416584"/>
                <a:gd name="connsiteY3" fmla="*/ 0 h 939400"/>
                <a:gd name="connsiteX0" fmla="*/ 762364 w 5416584"/>
                <a:gd name="connsiteY0" fmla="*/ 0 h 945010"/>
                <a:gd name="connsiteX1" fmla="*/ 5416584 w 5416584"/>
                <a:gd name="connsiteY1" fmla="*/ 930949 h 945010"/>
                <a:gd name="connsiteX2" fmla="*/ 0 w 5416584"/>
                <a:gd name="connsiteY2" fmla="*/ 945010 h 945010"/>
                <a:gd name="connsiteX3" fmla="*/ 762364 w 5416584"/>
                <a:gd name="connsiteY3" fmla="*/ 0 h 945010"/>
                <a:gd name="connsiteX0" fmla="*/ 762364 w 5416584"/>
                <a:gd name="connsiteY0" fmla="*/ 0 h 930949"/>
                <a:gd name="connsiteX1" fmla="*/ 5416584 w 5416584"/>
                <a:gd name="connsiteY1" fmla="*/ 930949 h 930949"/>
                <a:gd name="connsiteX2" fmla="*/ 0 w 5416584"/>
                <a:gd name="connsiteY2" fmla="*/ 921156 h 930949"/>
                <a:gd name="connsiteX3" fmla="*/ 762364 w 5416584"/>
                <a:gd name="connsiteY3" fmla="*/ 0 h 93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6584" h="930949">
                  <a:moveTo>
                    <a:pt x="762364" y="0"/>
                  </a:moveTo>
                  <a:lnTo>
                    <a:pt x="5416584" y="930949"/>
                  </a:lnTo>
                  <a:lnTo>
                    <a:pt x="0" y="921156"/>
                  </a:lnTo>
                  <a:lnTo>
                    <a:pt x="762364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6" name="Freeform 25"/>
            <p:cNvSpPr/>
            <p:nvPr/>
          </p:nvSpPr>
          <p:spPr>
            <a:xfrm>
              <a:off x="10990536" y="3785435"/>
              <a:ext cx="1209457" cy="3091509"/>
            </a:xfrm>
            <a:custGeom>
              <a:avLst/>
              <a:gdLst>
                <a:gd name="connsiteX0" fmla="*/ 0 w 1182718"/>
                <a:gd name="connsiteY0" fmla="*/ 0 h 3032701"/>
                <a:gd name="connsiteX1" fmla="*/ 497800 w 1182718"/>
                <a:gd name="connsiteY1" fmla="*/ 3032701 h 3032701"/>
                <a:gd name="connsiteX2" fmla="*/ 1182718 w 1182718"/>
                <a:gd name="connsiteY2" fmla="*/ 515453 h 3032701"/>
                <a:gd name="connsiteX3" fmla="*/ 0 w 1182718"/>
                <a:gd name="connsiteY3" fmla="*/ 0 h 3032701"/>
                <a:gd name="connsiteX0" fmla="*/ 0 w 1179187"/>
                <a:gd name="connsiteY0" fmla="*/ 0 h 3029170"/>
                <a:gd name="connsiteX1" fmla="*/ 494269 w 1179187"/>
                <a:gd name="connsiteY1" fmla="*/ 3029170 h 3029170"/>
                <a:gd name="connsiteX2" fmla="*/ 1179187 w 1179187"/>
                <a:gd name="connsiteY2" fmla="*/ 511922 h 3029170"/>
                <a:gd name="connsiteX3" fmla="*/ 0 w 1179187"/>
                <a:gd name="connsiteY3" fmla="*/ 0 h 3029170"/>
                <a:gd name="connsiteX0" fmla="*/ 0 w 1179187"/>
                <a:gd name="connsiteY0" fmla="*/ 0 h 3039761"/>
                <a:gd name="connsiteX1" fmla="*/ 483677 w 1179187"/>
                <a:gd name="connsiteY1" fmla="*/ 3039761 h 3039761"/>
                <a:gd name="connsiteX2" fmla="*/ 1179187 w 1179187"/>
                <a:gd name="connsiteY2" fmla="*/ 511922 h 3039761"/>
                <a:gd name="connsiteX3" fmla="*/ 0 w 1179187"/>
                <a:gd name="connsiteY3" fmla="*/ 0 h 3039761"/>
                <a:gd name="connsiteX0" fmla="*/ 0 w 1190407"/>
                <a:gd name="connsiteY0" fmla="*/ 0 h 3039761"/>
                <a:gd name="connsiteX1" fmla="*/ 494897 w 1190407"/>
                <a:gd name="connsiteY1" fmla="*/ 3039761 h 3039761"/>
                <a:gd name="connsiteX2" fmla="*/ 1190407 w 1190407"/>
                <a:gd name="connsiteY2" fmla="*/ 511922 h 3039761"/>
                <a:gd name="connsiteX3" fmla="*/ 0 w 1190407"/>
                <a:gd name="connsiteY3" fmla="*/ 0 h 3039761"/>
                <a:gd name="connsiteX0" fmla="*/ 0 w 1203107"/>
                <a:gd name="connsiteY0" fmla="*/ 0 h 3065161"/>
                <a:gd name="connsiteX1" fmla="*/ 507597 w 1203107"/>
                <a:gd name="connsiteY1" fmla="*/ 3065161 h 3065161"/>
                <a:gd name="connsiteX2" fmla="*/ 1203107 w 1203107"/>
                <a:gd name="connsiteY2" fmla="*/ 537322 h 3065161"/>
                <a:gd name="connsiteX3" fmla="*/ 0 w 1203107"/>
                <a:gd name="connsiteY3" fmla="*/ 0 h 3065161"/>
                <a:gd name="connsiteX0" fmla="*/ 0 w 1209457"/>
                <a:gd name="connsiteY0" fmla="*/ 0 h 3065161"/>
                <a:gd name="connsiteX1" fmla="*/ 507597 w 1209457"/>
                <a:gd name="connsiteY1" fmla="*/ 3065161 h 3065161"/>
                <a:gd name="connsiteX2" fmla="*/ 1209457 w 1209457"/>
                <a:gd name="connsiteY2" fmla="*/ 543672 h 3065161"/>
                <a:gd name="connsiteX3" fmla="*/ 0 w 1209457"/>
                <a:gd name="connsiteY3" fmla="*/ 0 h 3065161"/>
                <a:gd name="connsiteX0" fmla="*/ 0 w 1215807"/>
                <a:gd name="connsiteY0" fmla="*/ 0 h 3065161"/>
                <a:gd name="connsiteX1" fmla="*/ 507597 w 1215807"/>
                <a:gd name="connsiteY1" fmla="*/ 3065161 h 3065161"/>
                <a:gd name="connsiteX2" fmla="*/ 1215807 w 1215807"/>
                <a:gd name="connsiteY2" fmla="*/ 537322 h 3065161"/>
                <a:gd name="connsiteX3" fmla="*/ 0 w 1215807"/>
                <a:gd name="connsiteY3" fmla="*/ 0 h 3065161"/>
                <a:gd name="connsiteX0" fmla="*/ 0 w 1209457"/>
                <a:gd name="connsiteY0" fmla="*/ 0 h 3077861"/>
                <a:gd name="connsiteX1" fmla="*/ 501247 w 1209457"/>
                <a:gd name="connsiteY1" fmla="*/ 3077861 h 3077861"/>
                <a:gd name="connsiteX2" fmla="*/ 1209457 w 1209457"/>
                <a:gd name="connsiteY2" fmla="*/ 550022 h 3077861"/>
                <a:gd name="connsiteX3" fmla="*/ 0 w 1209457"/>
                <a:gd name="connsiteY3" fmla="*/ 0 h 3077861"/>
                <a:gd name="connsiteX0" fmla="*/ 0 w 1209457"/>
                <a:gd name="connsiteY0" fmla="*/ 0 h 3091509"/>
                <a:gd name="connsiteX1" fmla="*/ 501247 w 1209457"/>
                <a:gd name="connsiteY1" fmla="*/ 3091509 h 3091509"/>
                <a:gd name="connsiteX2" fmla="*/ 1209457 w 1209457"/>
                <a:gd name="connsiteY2" fmla="*/ 550022 h 3091509"/>
                <a:gd name="connsiteX3" fmla="*/ 0 w 1209457"/>
                <a:gd name="connsiteY3" fmla="*/ 0 h 309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9457" h="3091509">
                  <a:moveTo>
                    <a:pt x="0" y="0"/>
                  </a:moveTo>
                  <a:lnTo>
                    <a:pt x="501247" y="3091509"/>
                  </a:lnTo>
                  <a:lnTo>
                    <a:pt x="1209457" y="550022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3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7" name="Freeform 26"/>
            <p:cNvSpPr/>
            <p:nvPr/>
          </p:nvSpPr>
          <p:spPr>
            <a:xfrm>
              <a:off x="11488254" y="4321334"/>
              <a:ext cx="708319" cy="2552078"/>
            </a:xfrm>
            <a:custGeom>
              <a:avLst/>
              <a:gdLst>
                <a:gd name="connsiteX0" fmla="*/ 691978 w 697728"/>
                <a:gd name="connsiteY0" fmla="*/ 0 h 2520778"/>
                <a:gd name="connsiteX1" fmla="*/ 0 w 697728"/>
                <a:gd name="connsiteY1" fmla="*/ 2520778 h 2520778"/>
                <a:gd name="connsiteX2" fmla="*/ 695509 w 697728"/>
                <a:gd name="connsiteY2" fmla="*/ 2517248 h 2520778"/>
                <a:gd name="connsiteX3" fmla="*/ 691978 w 697728"/>
                <a:gd name="connsiteY3" fmla="*/ 0 h 2520778"/>
                <a:gd name="connsiteX0" fmla="*/ 691978 w 697728"/>
                <a:gd name="connsiteY0" fmla="*/ 0 h 2531370"/>
                <a:gd name="connsiteX1" fmla="*/ 0 w 697728"/>
                <a:gd name="connsiteY1" fmla="*/ 2531370 h 2531370"/>
                <a:gd name="connsiteX2" fmla="*/ 695509 w 697728"/>
                <a:gd name="connsiteY2" fmla="*/ 2517248 h 2531370"/>
                <a:gd name="connsiteX3" fmla="*/ 691978 w 697728"/>
                <a:gd name="connsiteY3" fmla="*/ 0 h 2531370"/>
                <a:gd name="connsiteX0" fmla="*/ 691978 w 703175"/>
                <a:gd name="connsiteY0" fmla="*/ 0 h 2531370"/>
                <a:gd name="connsiteX1" fmla="*/ 0 w 703175"/>
                <a:gd name="connsiteY1" fmla="*/ 2531370 h 2531370"/>
                <a:gd name="connsiteX2" fmla="*/ 702570 w 703175"/>
                <a:gd name="connsiteY2" fmla="*/ 2527839 h 2531370"/>
                <a:gd name="connsiteX3" fmla="*/ 691978 w 703175"/>
                <a:gd name="connsiteY3" fmla="*/ 0 h 2531370"/>
                <a:gd name="connsiteX0" fmla="*/ 691978 w 703175"/>
                <a:gd name="connsiteY0" fmla="*/ 0 h 2531370"/>
                <a:gd name="connsiteX1" fmla="*/ 0 w 703175"/>
                <a:gd name="connsiteY1" fmla="*/ 2531370 h 2531370"/>
                <a:gd name="connsiteX2" fmla="*/ 702570 w 703175"/>
                <a:gd name="connsiteY2" fmla="*/ 2527839 h 2531370"/>
                <a:gd name="connsiteX3" fmla="*/ 691978 w 703175"/>
                <a:gd name="connsiteY3" fmla="*/ 0 h 2531370"/>
                <a:gd name="connsiteX0" fmla="*/ 699039 w 704789"/>
                <a:gd name="connsiteY0" fmla="*/ 0 h 2541962"/>
                <a:gd name="connsiteX1" fmla="*/ 0 w 704789"/>
                <a:gd name="connsiteY1" fmla="*/ 2541962 h 2541962"/>
                <a:gd name="connsiteX2" fmla="*/ 702570 w 704789"/>
                <a:gd name="connsiteY2" fmla="*/ 2538431 h 2541962"/>
                <a:gd name="connsiteX3" fmla="*/ 699039 w 704789"/>
                <a:gd name="connsiteY3" fmla="*/ 0 h 2541962"/>
                <a:gd name="connsiteX0" fmla="*/ 702569 w 708319"/>
                <a:gd name="connsiteY0" fmla="*/ 0 h 2538431"/>
                <a:gd name="connsiteX1" fmla="*/ 0 w 708319"/>
                <a:gd name="connsiteY1" fmla="*/ 2538431 h 2538431"/>
                <a:gd name="connsiteX2" fmla="*/ 706100 w 708319"/>
                <a:gd name="connsiteY2" fmla="*/ 2538431 h 2538431"/>
                <a:gd name="connsiteX3" fmla="*/ 702569 w 708319"/>
                <a:gd name="connsiteY3" fmla="*/ 0 h 2538431"/>
                <a:gd name="connsiteX0" fmla="*/ 667264 w 673014"/>
                <a:gd name="connsiteY0" fmla="*/ 0 h 2538431"/>
                <a:gd name="connsiteX1" fmla="*/ 0 w 673014"/>
                <a:gd name="connsiteY1" fmla="*/ 2252460 h 2538431"/>
                <a:gd name="connsiteX2" fmla="*/ 670795 w 673014"/>
                <a:gd name="connsiteY2" fmla="*/ 2538431 h 2538431"/>
                <a:gd name="connsiteX3" fmla="*/ 667264 w 673014"/>
                <a:gd name="connsiteY3" fmla="*/ 0 h 2538431"/>
                <a:gd name="connsiteX0" fmla="*/ 702569 w 708319"/>
                <a:gd name="connsiteY0" fmla="*/ 0 h 2541961"/>
                <a:gd name="connsiteX1" fmla="*/ 0 w 708319"/>
                <a:gd name="connsiteY1" fmla="*/ 2541961 h 2541961"/>
                <a:gd name="connsiteX2" fmla="*/ 706100 w 708319"/>
                <a:gd name="connsiteY2" fmla="*/ 2538431 h 2541961"/>
                <a:gd name="connsiteX3" fmla="*/ 702569 w 708319"/>
                <a:gd name="connsiteY3" fmla="*/ 0 h 2541961"/>
                <a:gd name="connsiteX0" fmla="*/ 702569 w 708319"/>
                <a:gd name="connsiteY0" fmla="*/ 0 h 2538431"/>
                <a:gd name="connsiteX1" fmla="*/ 0 w 708319"/>
                <a:gd name="connsiteY1" fmla="*/ 2534900 h 2538431"/>
                <a:gd name="connsiteX2" fmla="*/ 706100 w 708319"/>
                <a:gd name="connsiteY2" fmla="*/ 2538431 h 2538431"/>
                <a:gd name="connsiteX3" fmla="*/ 702569 w 708319"/>
                <a:gd name="connsiteY3" fmla="*/ 0 h 2538431"/>
                <a:gd name="connsiteX0" fmla="*/ 702569 w 708319"/>
                <a:gd name="connsiteY0" fmla="*/ 0 h 2548548"/>
                <a:gd name="connsiteX1" fmla="*/ 0 w 708319"/>
                <a:gd name="connsiteY1" fmla="*/ 2548548 h 2548548"/>
                <a:gd name="connsiteX2" fmla="*/ 706100 w 708319"/>
                <a:gd name="connsiteY2" fmla="*/ 2538431 h 2548548"/>
                <a:gd name="connsiteX3" fmla="*/ 702569 w 708319"/>
                <a:gd name="connsiteY3" fmla="*/ 0 h 2548548"/>
                <a:gd name="connsiteX0" fmla="*/ 702569 w 704906"/>
                <a:gd name="connsiteY0" fmla="*/ 0 h 2548548"/>
                <a:gd name="connsiteX1" fmla="*/ 0 w 704906"/>
                <a:gd name="connsiteY1" fmla="*/ 2548548 h 2548548"/>
                <a:gd name="connsiteX2" fmla="*/ 692452 w 704906"/>
                <a:gd name="connsiteY2" fmla="*/ 2538431 h 2548548"/>
                <a:gd name="connsiteX3" fmla="*/ 702569 w 704906"/>
                <a:gd name="connsiteY3" fmla="*/ 0 h 2548548"/>
                <a:gd name="connsiteX0" fmla="*/ 702569 w 708319"/>
                <a:gd name="connsiteY0" fmla="*/ 0 h 2565726"/>
                <a:gd name="connsiteX1" fmla="*/ 0 w 708319"/>
                <a:gd name="connsiteY1" fmla="*/ 2548548 h 2565726"/>
                <a:gd name="connsiteX2" fmla="*/ 706100 w 708319"/>
                <a:gd name="connsiteY2" fmla="*/ 2565726 h 2565726"/>
                <a:gd name="connsiteX3" fmla="*/ 702569 w 708319"/>
                <a:gd name="connsiteY3" fmla="*/ 0 h 2565726"/>
                <a:gd name="connsiteX0" fmla="*/ 702569 w 708319"/>
                <a:gd name="connsiteY0" fmla="*/ 0 h 2552078"/>
                <a:gd name="connsiteX1" fmla="*/ 0 w 708319"/>
                <a:gd name="connsiteY1" fmla="*/ 2548548 h 2552078"/>
                <a:gd name="connsiteX2" fmla="*/ 706100 w 708319"/>
                <a:gd name="connsiteY2" fmla="*/ 2552078 h 2552078"/>
                <a:gd name="connsiteX3" fmla="*/ 702569 w 708319"/>
                <a:gd name="connsiteY3" fmla="*/ 0 h 2552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8319" h="2552078">
                  <a:moveTo>
                    <a:pt x="702569" y="0"/>
                  </a:moveTo>
                  <a:lnTo>
                    <a:pt x="0" y="2548548"/>
                  </a:lnTo>
                  <a:lnTo>
                    <a:pt x="706100" y="2552078"/>
                  </a:lnTo>
                  <a:cubicBezTo>
                    <a:pt x="708454" y="1710642"/>
                    <a:pt x="710807" y="834375"/>
                    <a:pt x="702569" y="0"/>
                  </a:cubicBez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9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8" name="Freeform 27"/>
            <p:cNvSpPr/>
            <p:nvPr/>
          </p:nvSpPr>
          <p:spPr>
            <a:xfrm>
              <a:off x="8745794" y="2426110"/>
              <a:ext cx="2263877" cy="4424516"/>
            </a:xfrm>
            <a:custGeom>
              <a:avLst/>
              <a:gdLst>
                <a:gd name="connsiteX0" fmla="*/ 958645 w 2263877"/>
                <a:gd name="connsiteY0" fmla="*/ 0 h 4424516"/>
                <a:gd name="connsiteX1" fmla="*/ 2263877 w 2263877"/>
                <a:gd name="connsiteY1" fmla="*/ 1393722 h 4424516"/>
                <a:gd name="connsiteX2" fmla="*/ 0 w 2263877"/>
                <a:gd name="connsiteY2" fmla="*/ 4424516 h 4424516"/>
                <a:gd name="connsiteX3" fmla="*/ 958645 w 2263877"/>
                <a:gd name="connsiteY3" fmla="*/ 0 h 4424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3877" h="4424516">
                  <a:moveTo>
                    <a:pt x="958645" y="0"/>
                  </a:moveTo>
                  <a:lnTo>
                    <a:pt x="2263877" y="1393722"/>
                  </a:lnTo>
                  <a:lnTo>
                    <a:pt x="0" y="4424516"/>
                  </a:lnTo>
                  <a:lnTo>
                    <a:pt x="95864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9" name="Freeform 28"/>
            <p:cNvSpPr/>
            <p:nvPr/>
          </p:nvSpPr>
          <p:spPr>
            <a:xfrm>
              <a:off x="-1" y="-1"/>
              <a:ext cx="3153403" cy="1773715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153403"/>
                <a:gd name="connsiteY0" fmla="*/ 0 h 1771137"/>
                <a:gd name="connsiteX1" fmla="*/ 1036790 w 3153403"/>
                <a:gd name="connsiteY1" fmla="*/ 1768953 h 1771137"/>
                <a:gd name="connsiteX2" fmla="*/ 3153403 w 3153403"/>
                <a:gd name="connsiteY2" fmla="*/ 1771137 h 1771137"/>
                <a:gd name="connsiteX3" fmla="*/ 0 w 3153403"/>
                <a:gd name="connsiteY3" fmla="*/ 0 h 1771137"/>
                <a:gd name="connsiteX0" fmla="*/ 0 w 3153403"/>
                <a:gd name="connsiteY0" fmla="*/ 0 h 1773715"/>
                <a:gd name="connsiteX1" fmla="*/ 1036790 w 3153403"/>
                <a:gd name="connsiteY1" fmla="*/ 1773715 h 1773715"/>
                <a:gd name="connsiteX2" fmla="*/ 3153403 w 3153403"/>
                <a:gd name="connsiteY2" fmla="*/ 1771137 h 1773715"/>
                <a:gd name="connsiteX3" fmla="*/ 0 w 3153403"/>
                <a:gd name="connsiteY3" fmla="*/ 0 h 1773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3403" h="1773715">
                  <a:moveTo>
                    <a:pt x="0" y="0"/>
                  </a:moveTo>
                  <a:lnTo>
                    <a:pt x="1036790" y="1773715"/>
                  </a:lnTo>
                  <a:lnTo>
                    <a:pt x="3153403" y="177113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0" name="Freeform 29"/>
            <p:cNvSpPr/>
            <p:nvPr/>
          </p:nvSpPr>
          <p:spPr>
            <a:xfrm>
              <a:off x="-9845" y="-7221"/>
              <a:ext cx="3120462" cy="1793286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153403"/>
                <a:gd name="connsiteY0" fmla="*/ 0 h 1771137"/>
                <a:gd name="connsiteX1" fmla="*/ 1036790 w 3153403"/>
                <a:gd name="connsiteY1" fmla="*/ 1768953 h 1771137"/>
                <a:gd name="connsiteX2" fmla="*/ 3153403 w 3153403"/>
                <a:gd name="connsiteY2" fmla="*/ 1771137 h 1771137"/>
                <a:gd name="connsiteX3" fmla="*/ 0 w 3153403"/>
                <a:gd name="connsiteY3" fmla="*/ 0 h 1771137"/>
                <a:gd name="connsiteX0" fmla="*/ 0 w 3153403"/>
                <a:gd name="connsiteY0" fmla="*/ 0 h 1773715"/>
                <a:gd name="connsiteX1" fmla="*/ 1036790 w 3153403"/>
                <a:gd name="connsiteY1" fmla="*/ 1773715 h 1773715"/>
                <a:gd name="connsiteX2" fmla="*/ 3153403 w 3153403"/>
                <a:gd name="connsiteY2" fmla="*/ 1771137 h 1773715"/>
                <a:gd name="connsiteX3" fmla="*/ 0 w 3153403"/>
                <a:gd name="connsiteY3" fmla="*/ 0 h 1773715"/>
                <a:gd name="connsiteX0" fmla="*/ 0 w 3081965"/>
                <a:gd name="connsiteY0" fmla="*/ 0 h 1775900"/>
                <a:gd name="connsiteX1" fmla="*/ 1036790 w 3081965"/>
                <a:gd name="connsiteY1" fmla="*/ 1773715 h 1775900"/>
                <a:gd name="connsiteX2" fmla="*/ 3081965 w 3081965"/>
                <a:gd name="connsiteY2" fmla="*/ 1775900 h 1775900"/>
                <a:gd name="connsiteX3" fmla="*/ 0 w 3081965"/>
                <a:gd name="connsiteY3" fmla="*/ 0 h 1775900"/>
                <a:gd name="connsiteX0" fmla="*/ 0 w 3086728"/>
                <a:gd name="connsiteY0" fmla="*/ 0 h 1775900"/>
                <a:gd name="connsiteX1" fmla="*/ 1036790 w 3086728"/>
                <a:gd name="connsiteY1" fmla="*/ 1773715 h 1775900"/>
                <a:gd name="connsiteX2" fmla="*/ 3086728 w 3086728"/>
                <a:gd name="connsiteY2" fmla="*/ 1775900 h 1775900"/>
                <a:gd name="connsiteX3" fmla="*/ 0 w 3086728"/>
                <a:gd name="connsiteY3" fmla="*/ 0 h 1775900"/>
                <a:gd name="connsiteX0" fmla="*/ 0 w 3091491"/>
                <a:gd name="connsiteY0" fmla="*/ 0 h 1799713"/>
                <a:gd name="connsiteX1" fmla="*/ 1036790 w 3091491"/>
                <a:gd name="connsiteY1" fmla="*/ 1773715 h 1799713"/>
                <a:gd name="connsiteX2" fmla="*/ 3091491 w 3091491"/>
                <a:gd name="connsiteY2" fmla="*/ 1799713 h 1799713"/>
                <a:gd name="connsiteX3" fmla="*/ 0 w 3091491"/>
                <a:gd name="connsiteY3" fmla="*/ 0 h 1799713"/>
                <a:gd name="connsiteX0" fmla="*/ 0 w 3120066"/>
                <a:gd name="connsiteY0" fmla="*/ 0 h 1799713"/>
                <a:gd name="connsiteX1" fmla="*/ 1036790 w 3120066"/>
                <a:gd name="connsiteY1" fmla="*/ 1773715 h 1799713"/>
                <a:gd name="connsiteX2" fmla="*/ 3120066 w 3120066"/>
                <a:gd name="connsiteY2" fmla="*/ 1799713 h 1799713"/>
                <a:gd name="connsiteX3" fmla="*/ 0 w 3120066"/>
                <a:gd name="connsiteY3" fmla="*/ 0 h 1799713"/>
                <a:gd name="connsiteX0" fmla="*/ 0 w 3120066"/>
                <a:gd name="connsiteY0" fmla="*/ 0 h 1799713"/>
                <a:gd name="connsiteX1" fmla="*/ 1019730 w 3120066"/>
                <a:gd name="connsiteY1" fmla="*/ 1773715 h 1799713"/>
                <a:gd name="connsiteX2" fmla="*/ 3120066 w 3120066"/>
                <a:gd name="connsiteY2" fmla="*/ 1799713 h 1799713"/>
                <a:gd name="connsiteX3" fmla="*/ 0 w 3120066"/>
                <a:gd name="connsiteY3" fmla="*/ 0 h 1799713"/>
                <a:gd name="connsiteX0" fmla="*/ 0 w 3133714"/>
                <a:gd name="connsiteY0" fmla="*/ 0 h 1799713"/>
                <a:gd name="connsiteX1" fmla="*/ 1033378 w 3133714"/>
                <a:gd name="connsiteY1" fmla="*/ 1773715 h 1799713"/>
                <a:gd name="connsiteX2" fmla="*/ 3133714 w 3133714"/>
                <a:gd name="connsiteY2" fmla="*/ 1799713 h 1799713"/>
                <a:gd name="connsiteX3" fmla="*/ 0 w 3133714"/>
                <a:gd name="connsiteY3" fmla="*/ 0 h 1799713"/>
                <a:gd name="connsiteX0" fmla="*/ 0 w 3140538"/>
                <a:gd name="connsiteY0" fmla="*/ 0 h 1799713"/>
                <a:gd name="connsiteX1" fmla="*/ 1040202 w 3140538"/>
                <a:gd name="connsiteY1" fmla="*/ 1773715 h 1799713"/>
                <a:gd name="connsiteX2" fmla="*/ 3140538 w 3140538"/>
                <a:gd name="connsiteY2" fmla="*/ 1799713 h 1799713"/>
                <a:gd name="connsiteX3" fmla="*/ 0 w 3140538"/>
                <a:gd name="connsiteY3" fmla="*/ 0 h 1799713"/>
                <a:gd name="connsiteX0" fmla="*/ 0 w 3126890"/>
                <a:gd name="connsiteY0" fmla="*/ 0 h 1786065"/>
                <a:gd name="connsiteX1" fmla="*/ 1040202 w 3126890"/>
                <a:gd name="connsiteY1" fmla="*/ 1773715 h 1786065"/>
                <a:gd name="connsiteX2" fmla="*/ 3126890 w 3126890"/>
                <a:gd name="connsiteY2" fmla="*/ 1786065 h 1786065"/>
                <a:gd name="connsiteX3" fmla="*/ 0 w 3126890"/>
                <a:gd name="connsiteY3" fmla="*/ 0 h 1786065"/>
                <a:gd name="connsiteX0" fmla="*/ 0 w 3113242"/>
                <a:gd name="connsiteY0" fmla="*/ 0 h 1782653"/>
                <a:gd name="connsiteX1" fmla="*/ 1026554 w 3113242"/>
                <a:gd name="connsiteY1" fmla="*/ 1770303 h 1782653"/>
                <a:gd name="connsiteX2" fmla="*/ 3113242 w 3113242"/>
                <a:gd name="connsiteY2" fmla="*/ 1782653 h 1782653"/>
                <a:gd name="connsiteX3" fmla="*/ 0 w 3113242"/>
                <a:gd name="connsiteY3" fmla="*/ 0 h 1782653"/>
                <a:gd name="connsiteX0" fmla="*/ 0 w 3123478"/>
                <a:gd name="connsiteY0" fmla="*/ 0 h 1782653"/>
                <a:gd name="connsiteX1" fmla="*/ 1036790 w 3123478"/>
                <a:gd name="connsiteY1" fmla="*/ 1770303 h 1782653"/>
                <a:gd name="connsiteX2" fmla="*/ 3123478 w 3123478"/>
                <a:gd name="connsiteY2" fmla="*/ 1782653 h 1782653"/>
                <a:gd name="connsiteX3" fmla="*/ 0 w 3123478"/>
                <a:gd name="connsiteY3" fmla="*/ 0 h 1782653"/>
                <a:gd name="connsiteX0" fmla="*/ 0 w 3109830"/>
                <a:gd name="connsiteY0" fmla="*/ 0 h 1782653"/>
                <a:gd name="connsiteX1" fmla="*/ 1036790 w 3109830"/>
                <a:gd name="connsiteY1" fmla="*/ 1770303 h 1782653"/>
                <a:gd name="connsiteX2" fmla="*/ 3109830 w 3109830"/>
                <a:gd name="connsiteY2" fmla="*/ 1782653 h 1782653"/>
                <a:gd name="connsiteX3" fmla="*/ 0 w 3109830"/>
                <a:gd name="connsiteY3" fmla="*/ 0 h 1782653"/>
                <a:gd name="connsiteX0" fmla="*/ 0 w 3120462"/>
                <a:gd name="connsiteY0" fmla="*/ 0 h 1793286"/>
                <a:gd name="connsiteX1" fmla="*/ 1047422 w 3120462"/>
                <a:gd name="connsiteY1" fmla="*/ 1780936 h 1793286"/>
                <a:gd name="connsiteX2" fmla="*/ 3120462 w 3120462"/>
                <a:gd name="connsiteY2" fmla="*/ 1793286 h 1793286"/>
                <a:gd name="connsiteX3" fmla="*/ 0 w 3120462"/>
                <a:gd name="connsiteY3" fmla="*/ 0 h 179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20462" h="1793286">
                  <a:moveTo>
                    <a:pt x="0" y="0"/>
                  </a:moveTo>
                  <a:lnTo>
                    <a:pt x="1047422" y="1780936"/>
                  </a:lnTo>
                  <a:lnTo>
                    <a:pt x="3120462" y="179328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62000">
                  <a:schemeClr val="accent3"/>
                </a:gs>
                <a:gs pos="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1" name="Freeform 30"/>
            <p:cNvSpPr/>
            <p:nvPr/>
          </p:nvSpPr>
          <p:spPr>
            <a:xfrm>
              <a:off x="-3295" y="1769807"/>
              <a:ext cx="1407341" cy="5098422"/>
            </a:xfrm>
            <a:custGeom>
              <a:avLst/>
              <a:gdLst>
                <a:gd name="connsiteX0" fmla="*/ 1026488 w 1398147"/>
                <a:gd name="connsiteY0" fmla="*/ 0 h 5073445"/>
                <a:gd name="connsiteX1" fmla="*/ 1398147 w 1398147"/>
                <a:gd name="connsiteY1" fmla="*/ 1875995 h 5073445"/>
                <a:gd name="connsiteX2" fmla="*/ 0 w 1398147"/>
                <a:gd name="connsiteY2" fmla="*/ 5073445 h 5073445"/>
                <a:gd name="connsiteX3" fmla="*/ 1026488 w 1398147"/>
                <a:gd name="connsiteY3" fmla="*/ 0 h 5073445"/>
                <a:gd name="connsiteX0" fmla="*/ 1032388 w 1398147"/>
                <a:gd name="connsiteY0" fmla="*/ 0 h 5055747"/>
                <a:gd name="connsiteX1" fmla="*/ 1398147 w 1398147"/>
                <a:gd name="connsiteY1" fmla="*/ 1858297 h 5055747"/>
                <a:gd name="connsiteX2" fmla="*/ 0 w 1398147"/>
                <a:gd name="connsiteY2" fmla="*/ 5055747 h 5055747"/>
                <a:gd name="connsiteX3" fmla="*/ 1032388 w 1398147"/>
                <a:gd name="connsiteY3" fmla="*/ 0 h 5055747"/>
                <a:gd name="connsiteX0" fmla="*/ 1032388 w 1398147"/>
                <a:gd name="connsiteY0" fmla="*/ 0 h 5061646"/>
                <a:gd name="connsiteX1" fmla="*/ 1398147 w 1398147"/>
                <a:gd name="connsiteY1" fmla="*/ 1864196 h 5061646"/>
                <a:gd name="connsiteX2" fmla="*/ 0 w 1398147"/>
                <a:gd name="connsiteY2" fmla="*/ 5061646 h 5061646"/>
                <a:gd name="connsiteX3" fmla="*/ 1032388 w 1398147"/>
                <a:gd name="connsiteY3" fmla="*/ 0 h 5061646"/>
                <a:gd name="connsiteX0" fmla="*/ 1032388 w 1398147"/>
                <a:gd name="connsiteY0" fmla="*/ 0 h 5079344"/>
                <a:gd name="connsiteX1" fmla="*/ 1398147 w 1398147"/>
                <a:gd name="connsiteY1" fmla="*/ 1881894 h 5079344"/>
                <a:gd name="connsiteX2" fmla="*/ 0 w 1398147"/>
                <a:gd name="connsiteY2" fmla="*/ 5079344 h 5079344"/>
                <a:gd name="connsiteX3" fmla="*/ 1032388 w 1398147"/>
                <a:gd name="connsiteY3" fmla="*/ 0 h 5079344"/>
                <a:gd name="connsiteX0" fmla="*/ 1032388 w 1398147"/>
                <a:gd name="connsiteY0" fmla="*/ 0 h 5089936"/>
                <a:gd name="connsiteX1" fmla="*/ 1398147 w 1398147"/>
                <a:gd name="connsiteY1" fmla="*/ 1881894 h 5089936"/>
                <a:gd name="connsiteX2" fmla="*/ 0 w 1398147"/>
                <a:gd name="connsiteY2" fmla="*/ 5089936 h 5089936"/>
                <a:gd name="connsiteX3" fmla="*/ 1032388 w 1398147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81894 h 5089936"/>
                <a:gd name="connsiteX2" fmla="*/ 0 w 1405209"/>
                <a:gd name="connsiteY2" fmla="*/ 5089936 h 5089936"/>
                <a:gd name="connsiteX3" fmla="*/ 1039450 w 1405209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91419 h 5089936"/>
                <a:gd name="connsiteX2" fmla="*/ 0 w 1405209"/>
                <a:gd name="connsiteY2" fmla="*/ 5089936 h 5089936"/>
                <a:gd name="connsiteX3" fmla="*/ 1039450 w 1405209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91419 h 5089936"/>
                <a:gd name="connsiteX2" fmla="*/ 0 w 1405209"/>
                <a:gd name="connsiteY2" fmla="*/ 5089936 h 5089936"/>
                <a:gd name="connsiteX3" fmla="*/ 8890 w 1405209"/>
                <a:gd name="connsiteY3" fmla="*/ 5081754 h 5089936"/>
                <a:gd name="connsiteX4" fmla="*/ 1039450 w 1405209"/>
                <a:gd name="connsiteY4" fmla="*/ 0 h 5089936"/>
                <a:gd name="connsiteX0" fmla="*/ 1041582 w 1407341"/>
                <a:gd name="connsiteY0" fmla="*/ 0 h 5098422"/>
                <a:gd name="connsiteX1" fmla="*/ 1407341 w 1407341"/>
                <a:gd name="connsiteY1" fmla="*/ 1891419 h 5098422"/>
                <a:gd name="connsiteX2" fmla="*/ 2132 w 1407341"/>
                <a:gd name="connsiteY2" fmla="*/ 5089936 h 5098422"/>
                <a:gd name="connsiteX3" fmla="*/ 719 w 1407341"/>
                <a:gd name="connsiteY3" fmla="*/ 5097208 h 5098422"/>
                <a:gd name="connsiteX4" fmla="*/ 1041582 w 1407341"/>
                <a:gd name="connsiteY4" fmla="*/ 0 h 5098422"/>
                <a:gd name="connsiteX0" fmla="*/ 1034758 w 1407341"/>
                <a:gd name="connsiteY0" fmla="*/ 0 h 5098422"/>
                <a:gd name="connsiteX1" fmla="*/ 1407341 w 1407341"/>
                <a:gd name="connsiteY1" fmla="*/ 1891419 h 5098422"/>
                <a:gd name="connsiteX2" fmla="*/ 2132 w 1407341"/>
                <a:gd name="connsiteY2" fmla="*/ 5089936 h 5098422"/>
                <a:gd name="connsiteX3" fmla="*/ 719 w 1407341"/>
                <a:gd name="connsiteY3" fmla="*/ 5097208 h 5098422"/>
                <a:gd name="connsiteX4" fmla="*/ 1034758 w 1407341"/>
                <a:gd name="connsiteY4" fmla="*/ 0 h 5098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7341" h="5098422">
                  <a:moveTo>
                    <a:pt x="1034758" y="0"/>
                  </a:moveTo>
                  <a:lnTo>
                    <a:pt x="1407341" y="1891419"/>
                  </a:lnTo>
                  <a:lnTo>
                    <a:pt x="2132" y="5089936"/>
                  </a:lnTo>
                  <a:cubicBezTo>
                    <a:pt x="5095" y="5083774"/>
                    <a:pt x="-2244" y="5103370"/>
                    <a:pt x="719" y="5097208"/>
                  </a:cubicBezTo>
                  <a:lnTo>
                    <a:pt x="103475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8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2" name="Freeform 31"/>
            <p:cNvSpPr/>
            <p:nvPr/>
          </p:nvSpPr>
          <p:spPr>
            <a:xfrm>
              <a:off x="8694845" y="2426110"/>
              <a:ext cx="2293341" cy="4440419"/>
            </a:xfrm>
            <a:custGeom>
              <a:avLst/>
              <a:gdLst>
                <a:gd name="connsiteX0" fmla="*/ 958645 w 2263877"/>
                <a:gd name="connsiteY0" fmla="*/ 0 h 4424516"/>
                <a:gd name="connsiteX1" fmla="*/ 2263877 w 2263877"/>
                <a:gd name="connsiteY1" fmla="*/ 1393722 h 4424516"/>
                <a:gd name="connsiteX2" fmla="*/ 0 w 2263877"/>
                <a:gd name="connsiteY2" fmla="*/ 4424516 h 4424516"/>
                <a:gd name="connsiteX3" fmla="*/ 958645 w 2263877"/>
                <a:gd name="connsiteY3" fmla="*/ 0 h 4424516"/>
                <a:gd name="connsiteX0" fmla="*/ 958645 w 2269487"/>
                <a:gd name="connsiteY0" fmla="*/ 0 h 4424516"/>
                <a:gd name="connsiteX1" fmla="*/ 2269487 w 2269487"/>
                <a:gd name="connsiteY1" fmla="*/ 1388112 h 4424516"/>
                <a:gd name="connsiteX2" fmla="*/ 0 w 2269487"/>
                <a:gd name="connsiteY2" fmla="*/ 4424516 h 4424516"/>
                <a:gd name="connsiteX3" fmla="*/ 958645 w 2269487"/>
                <a:gd name="connsiteY3" fmla="*/ 0 h 4424516"/>
                <a:gd name="connsiteX0" fmla="*/ 982499 w 2293341"/>
                <a:gd name="connsiteY0" fmla="*/ 0 h 4440419"/>
                <a:gd name="connsiteX1" fmla="*/ 2293341 w 2293341"/>
                <a:gd name="connsiteY1" fmla="*/ 1388112 h 4440419"/>
                <a:gd name="connsiteX2" fmla="*/ 0 w 2293341"/>
                <a:gd name="connsiteY2" fmla="*/ 4440419 h 4440419"/>
                <a:gd name="connsiteX3" fmla="*/ 982499 w 2293341"/>
                <a:gd name="connsiteY3" fmla="*/ 0 h 4440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93341" h="4440419">
                  <a:moveTo>
                    <a:pt x="982499" y="0"/>
                  </a:moveTo>
                  <a:lnTo>
                    <a:pt x="2293341" y="1388112"/>
                  </a:lnTo>
                  <a:lnTo>
                    <a:pt x="0" y="4440419"/>
                  </a:lnTo>
                  <a:lnTo>
                    <a:pt x="982499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29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3" name="Freeform 32"/>
            <p:cNvSpPr/>
            <p:nvPr/>
          </p:nvSpPr>
          <p:spPr>
            <a:xfrm>
              <a:off x="9669015" y="1066800"/>
              <a:ext cx="2530575" cy="2762250"/>
            </a:xfrm>
            <a:custGeom>
              <a:avLst/>
              <a:gdLst>
                <a:gd name="connsiteX0" fmla="*/ 2481262 w 2481262"/>
                <a:gd name="connsiteY0" fmla="*/ 0 h 2762250"/>
                <a:gd name="connsiteX1" fmla="*/ 0 w 2481262"/>
                <a:gd name="connsiteY1" fmla="*/ 1371600 h 2762250"/>
                <a:gd name="connsiteX2" fmla="*/ 1309687 w 2481262"/>
                <a:gd name="connsiteY2" fmla="*/ 2762250 h 2762250"/>
                <a:gd name="connsiteX3" fmla="*/ 2481262 w 2481262"/>
                <a:gd name="connsiteY3" fmla="*/ 0 h 2762250"/>
                <a:gd name="connsiteX0" fmla="*/ 2481262 w 2481262"/>
                <a:gd name="connsiteY0" fmla="*/ 0 h 2762250"/>
                <a:gd name="connsiteX1" fmla="*/ 0 w 2481262"/>
                <a:gd name="connsiteY1" fmla="*/ 1371600 h 2762250"/>
                <a:gd name="connsiteX2" fmla="*/ 1292857 w 2481262"/>
                <a:gd name="connsiteY2" fmla="*/ 2762250 h 2762250"/>
                <a:gd name="connsiteX3" fmla="*/ 2481262 w 2481262"/>
                <a:gd name="connsiteY3" fmla="*/ 0 h 2762250"/>
                <a:gd name="connsiteX0" fmla="*/ 2509311 w 2509311"/>
                <a:gd name="connsiteY0" fmla="*/ 0 h 2762250"/>
                <a:gd name="connsiteX1" fmla="*/ 0 w 2509311"/>
                <a:gd name="connsiteY1" fmla="*/ 1354771 h 2762250"/>
                <a:gd name="connsiteX2" fmla="*/ 1320906 w 2509311"/>
                <a:gd name="connsiteY2" fmla="*/ 2762250 h 2762250"/>
                <a:gd name="connsiteX3" fmla="*/ 2509311 w 2509311"/>
                <a:gd name="connsiteY3" fmla="*/ 0 h 2762250"/>
                <a:gd name="connsiteX0" fmla="*/ 2519943 w 2519943"/>
                <a:gd name="connsiteY0" fmla="*/ 0 h 2762250"/>
                <a:gd name="connsiteX1" fmla="*/ 0 w 2519943"/>
                <a:gd name="connsiteY1" fmla="*/ 1354771 h 2762250"/>
                <a:gd name="connsiteX2" fmla="*/ 1320906 w 2519943"/>
                <a:gd name="connsiteY2" fmla="*/ 2762250 h 2762250"/>
                <a:gd name="connsiteX3" fmla="*/ 2519943 w 2519943"/>
                <a:gd name="connsiteY3" fmla="*/ 0 h 2762250"/>
                <a:gd name="connsiteX0" fmla="*/ 2530575 w 2530575"/>
                <a:gd name="connsiteY0" fmla="*/ 0 h 2762250"/>
                <a:gd name="connsiteX1" fmla="*/ 0 w 2530575"/>
                <a:gd name="connsiteY1" fmla="*/ 1354771 h 2762250"/>
                <a:gd name="connsiteX2" fmla="*/ 1320906 w 2530575"/>
                <a:gd name="connsiteY2" fmla="*/ 2762250 h 2762250"/>
                <a:gd name="connsiteX3" fmla="*/ 2530575 w 2530575"/>
                <a:gd name="connsiteY3" fmla="*/ 0 h 2762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0575" h="2762250">
                  <a:moveTo>
                    <a:pt x="2530575" y="0"/>
                  </a:moveTo>
                  <a:lnTo>
                    <a:pt x="0" y="1354771"/>
                  </a:lnTo>
                  <a:lnTo>
                    <a:pt x="1320906" y="2762250"/>
                  </a:lnTo>
                  <a:lnTo>
                    <a:pt x="253057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4" name="Freeform 33"/>
            <p:cNvSpPr/>
            <p:nvPr/>
          </p:nvSpPr>
          <p:spPr>
            <a:xfrm>
              <a:off x="3317358" y="-5316"/>
              <a:ext cx="4354033" cy="1222744"/>
            </a:xfrm>
            <a:custGeom>
              <a:avLst/>
              <a:gdLst>
                <a:gd name="connsiteX0" fmla="*/ 0 w 4354033"/>
                <a:gd name="connsiteY0" fmla="*/ 0 h 1217428"/>
                <a:gd name="connsiteX1" fmla="*/ 3067493 w 4354033"/>
                <a:gd name="connsiteY1" fmla="*/ 10632 h 1217428"/>
                <a:gd name="connsiteX2" fmla="*/ 4354033 w 4354033"/>
                <a:gd name="connsiteY2" fmla="*/ 1217428 h 1217428"/>
                <a:gd name="connsiteX3" fmla="*/ 0 w 4354033"/>
                <a:gd name="connsiteY3" fmla="*/ 0 h 1217428"/>
                <a:gd name="connsiteX0" fmla="*/ 0 w 4354033"/>
                <a:gd name="connsiteY0" fmla="*/ 0 h 1217428"/>
                <a:gd name="connsiteX1" fmla="*/ 3088758 w 4354033"/>
                <a:gd name="connsiteY1" fmla="*/ 10632 h 1217428"/>
                <a:gd name="connsiteX2" fmla="*/ 4354033 w 4354033"/>
                <a:gd name="connsiteY2" fmla="*/ 1217428 h 1217428"/>
                <a:gd name="connsiteX3" fmla="*/ 0 w 4354033"/>
                <a:gd name="connsiteY3" fmla="*/ 0 h 1217428"/>
                <a:gd name="connsiteX0" fmla="*/ 0 w 4375298"/>
                <a:gd name="connsiteY0" fmla="*/ 0 h 1217428"/>
                <a:gd name="connsiteX1" fmla="*/ 3088758 w 4375298"/>
                <a:gd name="connsiteY1" fmla="*/ 10632 h 1217428"/>
                <a:gd name="connsiteX2" fmla="*/ 4375298 w 4375298"/>
                <a:gd name="connsiteY2" fmla="*/ 1217428 h 1217428"/>
                <a:gd name="connsiteX3" fmla="*/ 0 w 4375298"/>
                <a:gd name="connsiteY3" fmla="*/ 0 h 1217428"/>
                <a:gd name="connsiteX0" fmla="*/ 0 w 4364666"/>
                <a:gd name="connsiteY0" fmla="*/ 0 h 1217428"/>
                <a:gd name="connsiteX1" fmla="*/ 3088758 w 4364666"/>
                <a:gd name="connsiteY1" fmla="*/ 10632 h 1217428"/>
                <a:gd name="connsiteX2" fmla="*/ 4364666 w 4364666"/>
                <a:gd name="connsiteY2" fmla="*/ 1217428 h 1217428"/>
                <a:gd name="connsiteX3" fmla="*/ 0 w 4364666"/>
                <a:gd name="connsiteY3" fmla="*/ 0 h 1217428"/>
                <a:gd name="connsiteX0" fmla="*/ 0 w 4354033"/>
                <a:gd name="connsiteY0" fmla="*/ 0 h 1222744"/>
                <a:gd name="connsiteX1" fmla="*/ 3088758 w 4354033"/>
                <a:gd name="connsiteY1" fmla="*/ 10632 h 1222744"/>
                <a:gd name="connsiteX2" fmla="*/ 4354033 w 4354033"/>
                <a:gd name="connsiteY2" fmla="*/ 1222744 h 1222744"/>
                <a:gd name="connsiteX3" fmla="*/ 0 w 4354033"/>
                <a:gd name="connsiteY3" fmla="*/ 0 h 1222744"/>
                <a:gd name="connsiteX0" fmla="*/ 0 w 4354033"/>
                <a:gd name="connsiteY0" fmla="*/ 5317 h 1228061"/>
                <a:gd name="connsiteX1" fmla="*/ 3083442 w 4354033"/>
                <a:gd name="connsiteY1" fmla="*/ 0 h 1228061"/>
                <a:gd name="connsiteX2" fmla="*/ 4354033 w 4354033"/>
                <a:gd name="connsiteY2" fmla="*/ 1228061 h 1228061"/>
                <a:gd name="connsiteX3" fmla="*/ 0 w 4354033"/>
                <a:gd name="connsiteY3" fmla="*/ 5317 h 1228061"/>
                <a:gd name="connsiteX0" fmla="*/ 0 w 4354033"/>
                <a:gd name="connsiteY0" fmla="*/ 0 h 1222744"/>
                <a:gd name="connsiteX1" fmla="*/ 3094074 w 4354033"/>
                <a:gd name="connsiteY1" fmla="*/ 5315 h 1222744"/>
                <a:gd name="connsiteX2" fmla="*/ 4354033 w 4354033"/>
                <a:gd name="connsiteY2" fmla="*/ 1222744 h 1222744"/>
                <a:gd name="connsiteX3" fmla="*/ 0 w 4354033"/>
                <a:gd name="connsiteY3" fmla="*/ 0 h 122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54033" h="1222744">
                  <a:moveTo>
                    <a:pt x="0" y="0"/>
                  </a:moveTo>
                  <a:lnTo>
                    <a:pt x="3094074" y="5315"/>
                  </a:lnTo>
                  <a:lnTo>
                    <a:pt x="4354033" y="122274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8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5" name="Freeform 34"/>
            <p:cNvSpPr/>
            <p:nvPr/>
          </p:nvSpPr>
          <p:spPr>
            <a:xfrm>
              <a:off x="8690614" y="3782459"/>
              <a:ext cx="2818349" cy="3087424"/>
            </a:xfrm>
            <a:custGeom>
              <a:avLst/>
              <a:gdLst>
                <a:gd name="connsiteX0" fmla="*/ 2270113 w 2753791"/>
                <a:gd name="connsiteY0" fmla="*/ 0 h 3029171"/>
                <a:gd name="connsiteX1" fmla="*/ 0 w 2753791"/>
                <a:gd name="connsiteY1" fmla="*/ 3025640 h 3029171"/>
                <a:gd name="connsiteX2" fmla="*/ 2753791 w 2753791"/>
                <a:gd name="connsiteY2" fmla="*/ 3029171 h 3029171"/>
                <a:gd name="connsiteX3" fmla="*/ 2270113 w 2753791"/>
                <a:gd name="connsiteY3" fmla="*/ 0 h 3029171"/>
                <a:gd name="connsiteX0" fmla="*/ 2247810 w 2753791"/>
                <a:gd name="connsiteY0" fmla="*/ 0 h 3073776"/>
                <a:gd name="connsiteX1" fmla="*/ 0 w 2753791"/>
                <a:gd name="connsiteY1" fmla="*/ 3070245 h 3073776"/>
                <a:gd name="connsiteX2" fmla="*/ 2753791 w 2753791"/>
                <a:gd name="connsiteY2" fmla="*/ 3073776 h 3073776"/>
                <a:gd name="connsiteX3" fmla="*/ 2247810 w 2753791"/>
                <a:gd name="connsiteY3" fmla="*/ 0 h 3073776"/>
                <a:gd name="connsiteX0" fmla="*/ 2311420 w 2817401"/>
                <a:gd name="connsiteY0" fmla="*/ 0 h 3073776"/>
                <a:gd name="connsiteX1" fmla="*/ 0 w 2817401"/>
                <a:gd name="connsiteY1" fmla="*/ 3062294 h 3073776"/>
                <a:gd name="connsiteX2" fmla="*/ 2817401 w 2817401"/>
                <a:gd name="connsiteY2" fmla="*/ 3073776 h 3073776"/>
                <a:gd name="connsiteX3" fmla="*/ 2311420 w 2817401"/>
                <a:gd name="connsiteY3" fmla="*/ 0 h 3073776"/>
                <a:gd name="connsiteX0" fmla="*/ 2311420 w 2817401"/>
                <a:gd name="connsiteY0" fmla="*/ 0 h 3089589"/>
                <a:gd name="connsiteX1" fmla="*/ 0 w 2817401"/>
                <a:gd name="connsiteY1" fmla="*/ 3089589 h 3089589"/>
                <a:gd name="connsiteX2" fmla="*/ 2817401 w 2817401"/>
                <a:gd name="connsiteY2" fmla="*/ 3073776 h 3089589"/>
                <a:gd name="connsiteX3" fmla="*/ 2311420 w 2817401"/>
                <a:gd name="connsiteY3" fmla="*/ 0 h 3089589"/>
                <a:gd name="connsiteX0" fmla="*/ 2306657 w 2812638"/>
                <a:gd name="connsiteY0" fmla="*/ 0 h 3089589"/>
                <a:gd name="connsiteX1" fmla="*/ 0 w 2812638"/>
                <a:gd name="connsiteY1" fmla="*/ 3089589 h 3089589"/>
                <a:gd name="connsiteX2" fmla="*/ 2812638 w 2812638"/>
                <a:gd name="connsiteY2" fmla="*/ 3073776 h 3089589"/>
                <a:gd name="connsiteX3" fmla="*/ 2306657 w 2812638"/>
                <a:gd name="connsiteY3" fmla="*/ 0 h 3089589"/>
                <a:gd name="connsiteX0" fmla="*/ 2306657 w 2812638"/>
                <a:gd name="connsiteY0" fmla="*/ 0 h 3084826"/>
                <a:gd name="connsiteX1" fmla="*/ 0 w 2812638"/>
                <a:gd name="connsiteY1" fmla="*/ 3084826 h 3084826"/>
                <a:gd name="connsiteX2" fmla="*/ 2812638 w 2812638"/>
                <a:gd name="connsiteY2" fmla="*/ 3073776 h 3084826"/>
                <a:gd name="connsiteX3" fmla="*/ 2306657 w 2812638"/>
                <a:gd name="connsiteY3" fmla="*/ 0 h 3084826"/>
                <a:gd name="connsiteX0" fmla="*/ 2292370 w 2798351"/>
                <a:gd name="connsiteY0" fmla="*/ 0 h 3084826"/>
                <a:gd name="connsiteX1" fmla="*/ 0 w 2798351"/>
                <a:gd name="connsiteY1" fmla="*/ 3084826 h 3084826"/>
                <a:gd name="connsiteX2" fmla="*/ 2798351 w 2798351"/>
                <a:gd name="connsiteY2" fmla="*/ 3073776 h 3084826"/>
                <a:gd name="connsiteX3" fmla="*/ 2292370 w 2798351"/>
                <a:gd name="connsiteY3" fmla="*/ 0 h 3084826"/>
                <a:gd name="connsiteX0" fmla="*/ 22987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298720 w 2804701"/>
                <a:gd name="connsiteY3" fmla="*/ 0 h 3084826"/>
                <a:gd name="connsiteX0" fmla="*/ 22987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298720 w 2804701"/>
                <a:gd name="connsiteY3" fmla="*/ 0 h 3084826"/>
                <a:gd name="connsiteX0" fmla="*/ 23114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311420 w 2804701"/>
                <a:gd name="connsiteY3" fmla="*/ 0 h 3084826"/>
                <a:gd name="connsiteX0" fmla="*/ 2311420 w 2804701"/>
                <a:gd name="connsiteY0" fmla="*/ 0 h 3087424"/>
                <a:gd name="connsiteX1" fmla="*/ 0 w 2804701"/>
                <a:gd name="connsiteY1" fmla="*/ 3084826 h 3087424"/>
                <a:gd name="connsiteX2" fmla="*/ 2804701 w 2804701"/>
                <a:gd name="connsiteY2" fmla="*/ 3087424 h 3087424"/>
                <a:gd name="connsiteX3" fmla="*/ 2311420 w 2804701"/>
                <a:gd name="connsiteY3" fmla="*/ 0 h 3087424"/>
                <a:gd name="connsiteX0" fmla="*/ 2311420 w 2818349"/>
                <a:gd name="connsiteY0" fmla="*/ 0 h 3087424"/>
                <a:gd name="connsiteX1" fmla="*/ 0 w 2818349"/>
                <a:gd name="connsiteY1" fmla="*/ 3084826 h 3087424"/>
                <a:gd name="connsiteX2" fmla="*/ 2818349 w 2818349"/>
                <a:gd name="connsiteY2" fmla="*/ 3087424 h 3087424"/>
                <a:gd name="connsiteX3" fmla="*/ 2311420 w 2818349"/>
                <a:gd name="connsiteY3" fmla="*/ 0 h 308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18349" h="3087424">
                  <a:moveTo>
                    <a:pt x="2311420" y="0"/>
                  </a:moveTo>
                  <a:lnTo>
                    <a:pt x="0" y="3084826"/>
                  </a:lnTo>
                  <a:lnTo>
                    <a:pt x="2818349" y="3087424"/>
                  </a:lnTo>
                  <a:lnTo>
                    <a:pt x="231142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2000">
                  <a:schemeClr val="accent2"/>
                </a:gs>
              </a:gsLst>
              <a:lin ang="18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6" name="Freeform 35"/>
            <p:cNvSpPr/>
            <p:nvPr/>
          </p:nvSpPr>
          <p:spPr>
            <a:xfrm>
              <a:off x="7660347" y="1094096"/>
              <a:ext cx="4531653" cy="1344304"/>
            </a:xfrm>
            <a:custGeom>
              <a:avLst/>
              <a:gdLst>
                <a:gd name="connsiteX0" fmla="*/ 0 w 4533900"/>
                <a:gd name="connsiteY0" fmla="*/ 142875 h 1371600"/>
                <a:gd name="connsiteX1" fmla="*/ 4533900 w 4533900"/>
                <a:gd name="connsiteY1" fmla="*/ 0 h 1371600"/>
                <a:gd name="connsiteX2" fmla="*/ 2043113 w 4533900"/>
                <a:gd name="connsiteY2" fmla="*/ 1371600 h 1371600"/>
                <a:gd name="connsiteX3" fmla="*/ 0 w 4533900"/>
                <a:gd name="connsiteY3" fmla="*/ 142875 h 1371600"/>
                <a:gd name="connsiteX0" fmla="*/ 0 w 4533900"/>
                <a:gd name="connsiteY0" fmla="*/ 142875 h 1371600"/>
                <a:gd name="connsiteX1" fmla="*/ 4533900 w 4533900"/>
                <a:gd name="connsiteY1" fmla="*/ 0 h 1371600"/>
                <a:gd name="connsiteX2" fmla="*/ 2021848 w 4533900"/>
                <a:gd name="connsiteY2" fmla="*/ 1371600 h 1371600"/>
                <a:gd name="connsiteX3" fmla="*/ 0 w 4533900"/>
                <a:gd name="connsiteY3" fmla="*/ 142875 h 1371600"/>
                <a:gd name="connsiteX0" fmla="*/ 0 w 4544532"/>
                <a:gd name="connsiteY0" fmla="*/ 153508 h 1371600"/>
                <a:gd name="connsiteX1" fmla="*/ 4544532 w 4544532"/>
                <a:gd name="connsiteY1" fmla="*/ 0 h 1371600"/>
                <a:gd name="connsiteX2" fmla="*/ 2032480 w 4544532"/>
                <a:gd name="connsiteY2" fmla="*/ 1371600 h 1371600"/>
                <a:gd name="connsiteX3" fmla="*/ 0 w 4544532"/>
                <a:gd name="connsiteY3" fmla="*/ 153508 h 1371600"/>
                <a:gd name="connsiteX0" fmla="*/ 0 w 4544532"/>
                <a:gd name="connsiteY0" fmla="*/ 142875 h 1371600"/>
                <a:gd name="connsiteX1" fmla="*/ 4544532 w 4544532"/>
                <a:gd name="connsiteY1" fmla="*/ 0 h 1371600"/>
                <a:gd name="connsiteX2" fmla="*/ 2032480 w 4544532"/>
                <a:gd name="connsiteY2" fmla="*/ 1371600 h 1371600"/>
                <a:gd name="connsiteX3" fmla="*/ 0 w 4544532"/>
                <a:gd name="connsiteY3" fmla="*/ 142875 h 1371600"/>
                <a:gd name="connsiteX0" fmla="*/ 0 w 4536805"/>
                <a:gd name="connsiteY0" fmla="*/ 148026 h 1371600"/>
                <a:gd name="connsiteX1" fmla="*/ 4536805 w 4536805"/>
                <a:gd name="connsiteY1" fmla="*/ 0 h 1371600"/>
                <a:gd name="connsiteX2" fmla="*/ 2024753 w 4536805"/>
                <a:gd name="connsiteY2" fmla="*/ 1371600 h 1371600"/>
                <a:gd name="connsiteX3" fmla="*/ 0 w 4536805"/>
                <a:gd name="connsiteY3" fmla="*/ 148026 h 1371600"/>
                <a:gd name="connsiteX0" fmla="*/ 0 w 4531653"/>
                <a:gd name="connsiteY0" fmla="*/ 142874 h 1371600"/>
                <a:gd name="connsiteX1" fmla="*/ 4531653 w 4531653"/>
                <a:gd name="connsiteY1" fmla="*/ 0 h 1371600"/>
                <a:gd name="connsiteX2" fmla="*/ 2019601 w 4531653"/>
                <a:gd name="connsiteY2" fmla="*/ 1371600 h 1371600"/>
                <a:gd name="connsiteX3" fmla="*/ 0 w 4531653"/>
                <a:gd name="connsiteY3" fmla="*/ 142874 h 1371600"/>
                <a:gd name="connsiteX0" fmla="*/ 0 w 3944799"/>
                <a:gd name="connsiteY0" fmla="*/ 33692 h 1262418"/>
                <a:gd name="connsiteX1" fmla="*/ 3944799 w 3944799"/>
                <a:gd name="connsiteY1" fmla="*/ 0 h 1262418"/>
                <a:gd name="connsiteX2" fmla="*/ 2019601 w 3944799"/>
                <a:gd name="connsiteY2" fmla="*/ 1262418 h 1262418"/>
                <a:gd name="connsiteX3" fmla="*/ 0 w 3944799"/>
                <a:gd name="connsiteY3" fmla="*/ 33692 h 1262418"/>
                <a:gd name="connsiteX0" fmla="*/ 0 w 4531653"/>
                <a:gd name="connsiteY0" fmla="*/ 115578 h 1344304"/>
                <a:gd name="connsiteX1" fmla="*/ 4531653 w 4531653"/>
                <a:gd name="connsiteY1" fmla="*/ 0 h 1344304"/>
                <a:gd name="connsiteX2" fmla="*/ 2019601 w 4531653"/>
                <a:gd name="connsiteY2" fmla="*/ 1344304 h 1344304"/>
                <a:gd name="connsiteX3" fmla="*/ 0 w 4531653"/>
                <a:gd name="connsiteY3" fmla="*/ 115578 h 1344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1653" h="1344304">
                  <a:moveTo>
                    <a:pt x="0" y="115578"/>
                  </a:moveTo>
                  <a:lnTo>
                    <a:pt x="4531653" y="0"/>
                  </a:lnTo>
                  <a:lnTo>
                    <a:pt x="2019601" y="1344304"/>
                  </a:lnTo>
                  <a:lnTo>
                    <a:pt x="0" y="115578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7" name="Freeform 36"/>
            <p:cNvSpPr/>
            <p:nvPr/>
          </p:nvSpPr>
          <p:spPr>
            <a:xfrm>
              <a:off x="4067336" y="4700371"/>
              <a:ext cx="4645354" cy="2166557"/>
            </a:xfrm>
            <a:custGeom>
              <a:avLst/>
              <a:gdLst>
                <a:gd name="connsiteX0" fmla="*/ 0 w 4632158"/>
                <a:gd name="connsiteY0" fmla="*/ 1239253 h 2129590"/>
                <a:gd name="connsiteX1" fmla="*/ 3645569 w 4632158"/>
                <a:gd name="connsiteY1" fmla="*/ 0 h 2129590"/>
                <a:gd name="connsiteX2" fmla="*/ 4632158 w 4632158"/>
                <a:gd name="connsiteY2" fmla="*/ 2129590 h 2129590"/>
                <a:gd name="connsiteX3" fmla="*/ 0 w 4632158"/>
                <a:gd name="connsiteY3" fmla="*/ 1239253 h 2129590"/>
                <a:gd name="connsiteX0" fmla="*/ 0 w 4632158"/>
                <a:gd name="connsiteY0" fmla="*/ 1243228 h 2133565"/>
                <a:gd name="connsiteX1" fmla="*/ 3641593 w 4632158"/>
                <a:gd name="connsiteY1" fmla="*/ 0 h 2133565"/>
                <a:gd name="connsiteX2" fmla="*/ 4632158 w 4632158"/>
                <a:gd name="connsiteY2" fmla="*/ 2133565 h 2133565"/>
                <a:gd name="connsiteX3" fmla="*/ 0 w 4632158"/>
                <a:gd name="connsiteY3" fmla="*/ 1243228 h 2133565"/>
                <a:gd name="connsiteX0" fmla="*/ 0 w 4656011"/>
                <a:gd name="connsiteY0" fmla="*/ 1243228 h 2157419"/>
                <a:gd name="connsiteX1" fmla="*/ 3641593 w 4656011"/>
                <a:gd name="connsiteY1" fmla="*/ 0 h 2157419"/>
                <a:gd name="connsiteX2" fmla="*/ 4656011 w 4656011"/>
                <a:gd name="connsiteY2" fmla="*/ 2157419 h 2157419"/>
                <a:gd name="connsiteX3" fmla="*/ 0 w 4656011"/>
                <a:gd name="connsiteY3" fmla="*/ 1243228 h 2157419"/>
                <a:gd name="connsiteX0" fmla="*/ 0 w 4659987"/>
                <a:gd name="connsiteY0" fmla="*/ 1247204 h 2157419"/>
                <a:gd name="connsiteX1" fmla="*/ 3645569 w 4659987"/>
                <a:gd name="connsiteY1" fmla="*/ 0 h 2157419"/>
                <a:gd name="connsiteX2" fmla="*/ 4659987 w 4659987"/>
                <a:gd name="connsiteY2" fmla="*/ 2157419 h 2157419"/>
                <a:gd name="connsiteX3" fmla="*/ 0 w 4659987"/>
                <a:gd name="connsiteY3" fmla="*/ 1247204 h 2157419"/>
                <a:gd name="connsiteX0" fmla="*/ 0 w 4667938"/>
                <a:gd name="connsiteY0" fmla="*/ 1263107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63107 h 2157419"/>
                <a:gd name="connsiteX0" fmla="*/ 0 w 4667938"/>
                <a:gd name="connsiteY0" fmla="*/ 1259132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59132 h 2157419"/>
                <a:gd name="connsiteX0" fmla="*/ 0 w 4667938"/>
                <a:gd name="connsiteY0" fmla="*/ 1259132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59132 h 2157419"/>
                <a:gd name="connsiteX0" fmla="*/ 0 w 4659987"/>
                <a:gd name="connsiteY0" fmla="*/ 1251181 h 2157419"/>
                <a:gd name="connsiteX1" fmla="*/ 3645569 w 4659987"/>
                <a:gd name="connsiteY1" fmla="*/ 0 h 2157419"/>
                <a:gd name="connsiteX2" fmla="*/ 4659987 w 4659987"/>
                <a:gd name="connsiteY2" fmla="*/ 2157419 h 2157419"/>
                <a:gd name="connsiteX3" fmla="*/ 0 w 4659987"/>
                <a:gd name="connsiteY3" fmla="*/ 1251181 h 2157419"/>
                <a:gd name="connsiteX0" fmla="*/ 0 w 4674275"/>
                <a:gd name="connsiteY0" fmla="*/ 1251181 h 2157419"/>
                <a:gd name="connsiteX1" fmla="*/ 3645569 w 4674275"/>
                <a:gd name="connsiteY1" fmla="*/ 0 h 2157419"/>
                <a:gd name="connsiteX2" fmla="*/ 4674275 w 4674275"/>
                <a:gd name="connsiteY2" fmla="*/ 2157419 h 2157419"/>
                <a:gd name="connsiteX3" fmla="*/ 0 w 4674275"/>
                <a:gd name="connsiteY3" fmla="*/ 1251181 h 2157419"/>
                <a:gd name="connsiteX0" fmla="*/ 0 w 4683800"/>
                <a:gd name="connsiteY0" fmla="*/ 1251181 h 2157419"/>
                <a:gd name="connsiteX1" fmla="*/ 3655094 w 4683800"/>
                <a:gd name="connsiteY1" fmla="*/ 0 h 2157419"/>
                <a:gd name="connsiteX2" fmla="*/ 4683800 w 4683800"/>
                <a:gd name="connsiteY2" fmla="*/ 2157419 h 2157419"/>
                <a:gd name="connsiteX3" fmla="*/ 0 w 4683800"/>
                <a:gd name="connsiteY3" fmla="*/ 1251181 h 2157419"/>
                <a:gd name="connsiteX0" fmla="*/ 0 w 4695230"/>
                <a:gd name="connsiteY0" fmla="*/ 1251181 h 2157419"/>
                <a:gd name="connsiteX1" fmla="*/ 3666524 w 4695230"/>
                <a:gd name="connsiteY1" fmla="*/ 0 h 2157419"/>
                <a:gd name="connsiteX2" fmla="*/ 4695230 w 4695230"/>
                <a:gd name="connsiteY2" fmla="*/ 2157419 h 2157419"/>
                <a:gd name="connsiteX3" fmla="*/ 0 w 4695230"/>
                <a:gd name="connsiteY3" fmla="*/ 1251181 h 2157419"/>
                <a:gd name="connsiteX0" fmla="*/ 0 w 4695230"/>
                <a:gd name="connsiteY0" fmla="*/ 1251181 h 2171067"/>
                <a:gd name="connsiteX1" fmla="*/ 3666524 w 4695230"/>
                <a:gd name="connsiteY1" fmla="*/ 0 h 2171067"/>
                <a:gd name="connsiteX2" fmla="*/ 4695230 w 4695230"/>
                <a:gd name="connsiteY2" fmla="*/ 2171067 h 2171067"/>
                <a:gd name="connsiteX3" fmla="*/ 0 w 4695230"/>
                <a:gd name="connsiteY3" fmla="*/ 1251181 h 2171067"/>
                <a:gd name="connsiteX0" fmla="*/ 0 w 4708878"/>
                <a:gd name="connsiteY0" fmla="*/ 1251181 h 2184715"/>
                <a:gd name="connsiteX1" fmla="*/ 3666524 w 4708878"/>
                <a:gd name="connsiteY1" fmla="*/ 0 h 2184715"/>
                <a:gd name="connsiteX2" fmla="*/ 4708878 w 4708878"/>
                <a:gd name="connsiteY2" fmla="*/ 2184715 h 2184715"/>
                <a:gd name="connsiteX3" fmla="*/ 0 w 4708878"/>
                <a:gd name="connsiteY3" fmla="*/ 1251181 h 2184715"/>
                <a:gd name="connsiteX0" fmla="*/ 0 w 4722526"/>
                <a:gd name="connsiteY0" fmla="*/ 1251181 h 2198363"/>
                <a:gd name="connsiteX1" fmla="*/ 3666524 w 4722526"/>
                <a:gd name="connsiteY1" fmla="*/ 0 h 2198363"/>
                <a:gd name="connsiteX2" fmla="*/ 4722526 w 4722526"/>
                <a:gd name="connsiteY2" fmla="*/ 2198363 h 2198363"/>
                <a:gd name="connsiteX3" fmla="*/ 0 w 4722526"/>
                <a:gd name="connsiteY3" fmla="*/ 1251181 h 2198363"/>
                <a:gd name="connsiteX0" fmla="*/ 0 w 4658916"/>
                <a:gd name="connsiteY0" fmla="*/ 1251181 h 2190411"/>
                <a:gd name="connsiteX1" fmla="*/ 3666524 w 4658916"/>
                <a:gd name="connsiteY1" fmla="*/ 0 h 2190411"/>
                <a:gd name="connsiteX2" fmla="*/ 4658916 w 4658916"/>
                <a:gd name="connsiteY2" fmla="*/ 2190411 h 2190411"/>
                <a:gd name="connsiteX3" fmla="*/ 0 w 4658916"/>
                <a:gd name="connsiteY3" fmla="*/ 1251181 h 2190411"/>
                <a:gd name="connsiteX0" fmla="*/ 0 w 4658916"/>
                <a:gd name="connsiteY0" fmla="*/ 1251181 h 2166557"/>
                <a:gd name="connsiteX1" fmla="*/ 3666524 w 4658916"/>
                <a:gd name="connsiteY1" fmla="*/ 0 h 2166557"/>
                <a:gd name="connsiteX2" fmla="*/ 4658916 w 4658916"/>
                <a:gd name="connsiteY2" fmla="*/ 2166557 h 2166557"/>
                <a:gd name="connsiteX3" fmla="*/ 0 w 4658916"/>
                <a:gd name="connsiteY3" fmla="*/ 1251181 h 2166557"/>
                <a:gd name="connsiteX0" fmla="*/ 0 w 4670136"/>
                <a:gd name="connsiteY0" fmla="*/ 1251181 h 2166557"/>
                <a:gd name="connsiteX1" fmla="*/ 3677744 w 4670136"/>
                <a:gd name="connsiteY1" fmla="*/ 0 h 2166557"/>
                <a:gd name="connsiteX2" fmla="*/ 4670136 w 4670136"/>
                <a:gd name="connsiteY2" fmla="*/ 2166557 h 2166557"/>
                <a:gd name="connsiteX3" fmla="*/ 0 w 4670136"/>
                <a:gd name="connsiteY3" fmla="*/ 1251181 h 2166557"/>
                <a:gd name="connsiteX0" fmla="*/ 0 w 4653306"/>
                <a:gd name="connsiteY0" fmla="*/ 1251181 h 2166557"/>
                <a:gd name="connsiteX1" fmla="*/ 3660914 w 4653306"/>
                <a:gd name="connsiteY1" fmla="*/ 0 h 2166557"/>
                <a:gd name="connsiteX2" fmla="*/ 4653306 w 4653306"/>
                <a:gd name="connsiteY2" fmla="*/ 2166557 h 2166557"/>
                <a:gd name="connsiteX3" fmla="*/ 0 w 4653306"/>
                <a:gd name="connsiteY3" fmla="*/ 1251181 h 2166557"/>
                <a:gd name="connsiteX0" fmla="*/ 0 w 4001299"/>
                <a:gd name="connsiteY0" fmla="*/ 869518 h 2166557"/>
                <a:gd name="connsiteX1" fmla="*/ 3008907 w 4001299"/>
                <a:gd name="connsiteY1" fmla="*/ 0 h 2166557"/>
                <a:gd name="connsiteX2" fmla="*/ 4001299 w 4001299"/>
                <a:gd name="connsiteY2" fmla="*/ 2166557 h 2166557"/>
                <a:gd name="connsiteX3" fmla="*/ 0 w 4001299"/>
                <a:gd name="connsiteY3" fmla="*/ 869518 h 2166557"/>
                <a:gd name="connsiteX0" fmla="*/ 0 w 4645354"/>
                <a:gd name="connsiteY0" fmla="*/ 1251181 h 2166557"/>
                <a:gd name="connsiteX1" fmla="*/ 3652962 w 4645354"/>
                <a:gd name="connsiteY1" fmla="*/ 0 h 2166557"/>
                <a:gd name="connsiteX2" fmla="*/ 4645354 w 4645354"/>
                <a:gd name="connsiteY2" fmla="*/ 2166557 h 2166557"/>
                <a:gd name="connsiteX3" fmla="*/ 0 w 4645354"/>
                <a:gd name="connsiteY3" fmla="*/ 1251181 h 2166557"/>
                <a:gd name="connsiteX0" fmla="*/ 0 w 4645354"/>
                <a:gd name="connsiteY0" fmla="*/ 1243230 h 2166557"/>
                <a:gd name="connsiteX1" fmla="*/ 3652962 w 4645354"/>
                <a:gd name="connsiteY1" fmla="*/ 0 h 2166557"/>
                <a:gd name="connsiteX2" fmla="*/ 4645354 w 4645354"/>
                <a:gd name="connsiteY2" fmla="*/ 2166557 h 2166557"/>
                <a:gd name="connsiteX3" fmla="*/ 0 w 4645354"/>
                <a:gd name="connsiteY3" fmla="*/ 1243230 h 2166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5354" h="2166557">
                  <a:moveTo>
                    <a:pt x="0" y="1243230"/>
                  </a:moveTo>
                  <a:lnTo>
                    <a:pt x="3652962" y="0"/>
                  </a:lnTo>
                  <a:lnTo>
                    <a:pt x="4645354" y="2166557"/>
                  </a:lnTo>
                  <a:lnTo>
                    <a:pt x="0" y="124323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6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8" name="Freeform 37"/>
            <p:cNvSpPr/>
            <p:nvPr/>
          </p:nvSpPr>
          <p:spPr>
            <a:xfrm>
              <a:off x="3541852" y="3007895"/>
              <a:ext cx="2834884" cy="2947737"/>
            </a:xfrm>
            <a:custGeom>
              <a:avLst/>
              <a:gdLst>
                <a:gd name="connsiteX0" fmla="*/ 0 w 2791326"/>
                <a:gd name="connsiteY0" fmla="*/ 1816768 h 2947737"/>
                <a:gd name="connsiteX1" fmla="*/ 493294 w 2791326"/>
                <a:gd name="connsiteY1" fmla="*/ 2947737 h 2947737"/>
                <a:gd name="connsiteX2" fmla="*/ 2791326 w 2791326"/>
                <a:gd name="connsiteY2" fmla="*/ 0 h 2947737"/>
                <a:gd name="connsiteX3" fmla="*/ 0 w 2791326"/>
                <a:gd name="connsiteY3" fmla="*/ 1816768 h 2947737"/>
                <a:gd name="connsiteX0" fmla="*/ 0 w 2799638"/>
                <a:gd name="connsiteY0" fmla="*/ 1845863 h 2947737"/>
                <a:gd name="connsiteX1" fmla="*/ 501606 w 2799638"/>
                <a:gd name="connsiteY1" fmla="*/ 2947737 h 2947737"/>
                <a:gd name="connsiteX2" fmla="*/ 2799638 w 2799638"/>
                <a:gd name="connsiteY2" fmla="*/ 0 h 2947737"/>
                <a:gd name="connsiteX3" fmla="*/ 0 w 2799638"/>
                <a:gd name="connsiteY3" fmla="*/ 1845863 h 2947737"/>
                <a:gd name="connsiteX0" fmla="*/ 0 w 2826933"/>
                <a:gd name="connsiteY0" fmla="*/ 1886806 h 2947737"/>
                <a:gd name="connsiteX1" fmla="*/ 52890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86806 h 2947737"/>
                <a:gd name="connsiteX0" fmla="*/ 0 w 2826933"/>
                <a:gd name="connsiteY0" fmla="*/ 1859510 h 2947737"/>
                <a:gd name="connsiteX1" fmla="*/ 52890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59510 h 2947737"/>
                <a:gd name="connsiteX0" fmla="*/ 0 w 2826933"/>
                <a:gd name="connsiteY0" fmla="*/ 1859510 h 2947737"/>
                <a:gd name="connsiteX1" fmla="*/ 52329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59510 h 2947737"/>
                <a:gd name="connsiteX0" fmla="*/ 0 w 2834884"/>
                <a:gd name="connsiteY0" fmla="*/ 1867462 h 2947737"/>
                <a:gd name="connsiteX1" fmla="*/ 531242 w 2834884"/>
                <a:gd name="connsiteY1" fmla="*/ 2947737 h 2947737"/>
                <a:gd name="connsiteX2" fmla="*/ 2834884 w 2834884"/>
                <a:gd name="connsiteY2" fmla="*/ 0 h 2947737"/>
                <a:gd name="connsiteX3" fmla="*/ 0 w 2834884"/>
                <a:gd name="connsiteY3" fmla="*/ 1867462 h 2947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4884" h="2947737">
                  <a:moveTo>
                    <a:pt x="0" y="1867462"/>
                  </a:moveTo>
                  <a:lnTo>
                    <a:pt x="531242" y="2947737"/>
                  </a:lnTo>
                  <a:lnTo>
                    <a:pt x="2834884" y="0"/>
                  </a:lnTo>
                  <a:lnTo>
                    <a:pt x="0" y="1867462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79413" y="1333500"/>
            <a:ext cx="9521825" cy="4127499"/>
          </a:xfrm>
          <a:noFill/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2498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413" y="2321901"/>
            <a:ext cx="9521825" cy="1994392"/>
          </a:xfr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70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2 REVERSED line/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7327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 dirty="0"/>
              <a:t>Two line title</a:t>
            </a:r>
            <a:br>
              <a:rPr lang="en-US" dirty="0"/>
            </a:br>
            <a:r>
              <a:rPr lang="en-US" dirty="0"/>
              <a:t>goes her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69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_2 REVERSED line/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1874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1652428"/>
            <a:ext cx="8210550" cy="1994392"/>
          </a:xfrm>
          <a:prstGeom prst="rect">
            <a:avLst/>
          </a:prstGeom>
          <a:gradFill>
            <a:gsLst>
              <a:gs pos="0">
                <a:srgbClr val="65553C">
                  <a:alpha val="37000"/>
                </a:srgbClr>
              </a:gs>
              <a:gs pos="70000">
                <a:srgbClr val="654E47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 dirty="0"/>
              <a:t>Two line title</a:t>
            </a:r>
            <a:br>
              <a:rPr lang="en-US" dirty="0"/>
            </a:br>
            <a:r>
              <a:rPr lang="en-US" dirty="0"/>
              <a:t>goes her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384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2 REVERSED line/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7610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1500850"/>
            <a:ext cx="8210550" cy="2145970"/>
          </a:xfrm>
          <a:prstGeom prst="rect">
            <a:avLst/>
          </a:prstGeom>
          <a:gradFill>
            <a:gsLst>
              <a:gs pos="0">
                <a:srgbClr val="629324">
                  <a:alpha val="66000"/>
                </a:srgbClr>
              </a:gs>
              <a:gs pos="70000">
                <a:srgbClr val="68942C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effectLst/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 dirty="0"/>
              <a:t>Two line title</a:t>
            </a:r>
            <a:br>
              <a:rPr lang="en-US" dirty="0"/>
            </a:br>
            <a:r>
              <a:rPr lang="en-US" dirty="0"/>
              <a:t>goes her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459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_2 REVERSED line/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57057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 dirty="0"/>
              <a:t>Two line title</a:t>
            </a:r>
            <a:br>
              <a:rPr lang="en-US" dirty="0"/>
            </a:br>
            <a:r>
              <a:rPr lang="en-US" dirty="0"/>
              <a:t>goes her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556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_2 REVERSED line/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26491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1652428"/>
            <a:ext cx="8210550" cy="1994392"/>
          </a:xfrm>
          <a:prstGeom prst="rect">
            <a:avLst/>
          </a:prstGeom>
          <a:gradFill>
            <a:gsLst>
              <a:gs pos="0">
                <a:srgbClr val="03060D">
                  <a:alpha val="34000"/>
                </a:srgbClr>
              </a:gs>
              <a:gs pos="70000">
                <a:srgbClr val="686963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7200" b="0" kern="1200" dirty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3M Circular TT Bold" panose="020B0804020101010102" pitchFamily="34" charset="0"/>
                <a:ea typeface="+mj-ea"/>
                <a:cs typeface="3M Circular TT Bold" panose="020B0804020101010102" pitchFamily="34" charset="0"/>
              </a:defRPr>
            </a:lvl1pPr>
          </a:lstStyle>
          <a:p>
            <a:r>
              <a:rPr lang="en-US" dirty="0"/>
              <a:t>Two line title</a:t>
            </a:r>
            <a:br>
              <a:rPr lang="en-US" dirty="0"/>
            </a:br>
            <a:r>
              <a:rPr lang="en-US" dirty="0"/>
              <a:t>goes her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53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3"/>
            <a:ext cx="11425237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11430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1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2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 February 2019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3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0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1"/>
            <a:ext cx="12192000" cy="152402"/>
          </a:xfrm>
          <a:prstGeom prst="rect">
            <a:avLst/>
          </a:prstGeom>
          <a:gradFill>
            <a:gsLst>
              <a:gs pos="0">
                <a:srgbClr val="00C8E6"/>
              </a:gs>
              <a:gs pos="97000">
                <a:srgbClr val="1E1E9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706650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1 lin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48" y="2286000"/>
            <a:ext cx="9521825" cy="1051116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200" b="0">
                <a:solidFill>
                  <a:schemeClr val="tx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One-line title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4257741"/>
            <a:ext cx="1978025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tx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873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Freeform 37"/>
          <p:cNvSpPr>
            <a:spLocks/>
          </p:cNvSpPr>
          <p:nvPr userDrawn="1"/>
        </p:nvSpPr>
        <p:spPr bwMode="auto">
          <a:xfrm rot="19218002">
            <a:off x="582337" y="2537728"/>
            <a:ext cx="10928210" cy="6096374"/>
          </a:xfrm>
          <a:custGeom>
            <a:avLst/>
            <a:gdLst>
              <a:gd name="T0" fmla="*/ 3982 w 4136"/>
              <a:gd name="T1" fmla="*/ 0 h 2304"/>
              <a:gd name="T2" fmla="*/ 4136 w 4136"/>
              <a:gd name="T3" fmla="*/ 2304 h 2304"/>
              <a:gd name="T4" fmla="*/ 0 w 4136"/>
              <a:gd name="T5" fmla="*/ 77 h 2304"/>
              <a:gd name="T6" fmla="*/ 3982 w 4136"/>
              <a:gd name="T7" fmla="*/ 0 h 2304"/>
              <a:gd name="connsiteX0" fmla="*/ 9628 w 9990"/>
              <a:gd name="connsiteY0" fmla="*/ 0 h 10197"/>
              <a:gd name="connsiteX1" fmla="*/ 9990 w 9990"/>
              <a:gd name="connsiteY1" fmla="*/ 10197 h 10197"/>
              <a:gd name="connsiteX2" fmla="*/ 0 w 9990"/>
              <a:gd name="connsiteY2" fmla="*/ 334 h 10197"/>
              <a:gd name="connsiteX3" fmla="*/ 9628 w 9990"/>
              <a:gd name="connsiteY3" fmla="*/ 0 h 10197"/>
              <a:gd name="connsiteX0" fmla="*/ 9649 w 10000"/>
              <a:gd name="connsiteY0" fmla="*/ 0 h 10005"/>
              <a:gd name="connsiteX1" fmla="*/ 10000 w 10000"/>
              <a:gd name="connsiteY1" fmla="*/ 10005 h 10005"/>
              <a:gd name="connsiteX2" fmla="*/ 0 w 10000"/>
              <a:gd name="connsiteY2" fmla="*/ 333 h 10005"/>
              <a:gd name="connsiteX3" fmla="*/ 9649 w 10000"/>
              <a:gd name="connsiteY3" fmla="*/ 0 h 10005"/>
              <a:gd name="connsiteX0" fmla="*/ 9598 w 9949"/>
              <a:gd name="connsiteY0" fmla="*/ 0 h 10005"/>
              <a:gd name="connsiteX1" fmla="*/ 9949 w 9949"/>
              <a:gd name="connsiteY1" fmla="*/ 10005 h 10005"/>
              <a:gd name="connsiteX2" fmla="*/ 1 w 9949"/>
              <a:gd name="connsiteY2" fmla="*/ 263 h 10005"/>
              <a:gd name="connsiteX3" fmla="*/ 9598 w 9949"/>
              <a:gd name="connsiteY3" fmla="*/ 0 h 10005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1 w 10000"/>
              <a:gd name="connsiteY2" fmla="*/ 263 h 10000"/>
              <a:gd name="connsiteX3" fmla="*/ 9647 w 10000"/>
              <a:gd name="connsiteY3" fmla="*/ 0 h 10000"/>
              <a:gd name="connsiteX0" fmla="*/ 9646 w 9999"/>
              <a:gd name="connsiteY0" fmla="*/ 0 h 10000"/>
              <a:gd name="connsiteX1" fmla="*/ 9999 w 9999"/>
              <a:gd name="connsiteY1" fmla="*/ 10000 h 10000"/>
              <a:gd name="connsiteX2" fmla="*/ 0 w 9999"/>
              <a:gd name="connsiteY2" fmla="*/ 263 h 10000"/>
              <a:gd name="connsiteX3" fmla="*/ 9646 w 9999"/>
              <a:gd name="connsiteY3" fmla="*/ 0 h 10000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0 w 10000"/>
              <a:gd name="connsiteY2" fmla="*/ 263 h 10000"/>
              <a:gd name="connsiteX3" fmla="*/ 9647 w 10000"/>
              <a:gd name="connsiteY3" fmla="*/ 0 h 10000"/>
              <a:gd name="connsiteX0" fmla="*/ 9647 w 10000"/>
              <a:gd name="connsiteY0" fmla="*/ 0 h 10000"/>
              <a:gd name="connsiteX1" fmla="*/ 10000 w 10000"/>
              <a:gd name="connsiteY1" fmla="*/ 10000 h 10000"/>
              <a:gd name="connsiteX2" fmla="*/ 0 w 10000"/>
              <a:gd name="connsiteY2" fmla="*/ 263 h 10000"/>
              <a:gd name="connsiteX3" fmla="*/ 9647 w 10000"/>
              <a:gd name="connsiteY3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0000">
                <a:moveTo>
                  <a:pt x="9647" y="0"/>
                </a:moveTo>
                <a:cubicBezTo>
                  <a:pt x="9645" y="-3"/>
                  <a:pt x="10000" y="10000"/>
                  <a:pt x="10000" y="10000"/>
                </a:cubicBezTo>
                <a:cubicBezTo>
                  <a:pt x="9999" y="9998"/>
                  <a:pt x="0" y="263"/>
                  <a:pt x="0" y="263"/>
                </a:cubicBezTo>
                <a:lnTo>
                  <a:pt x="9647" y="0"/>
                </a:ln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5000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GB" baseline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9413" y="2321901"/>
            <a:ext cx="9521825" cy="1033548"/>
          </a:xfr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200"/>
            </a:lvl1pPr>
          </a:lstStyle>
          <a:p>
            <a:r>
              <a:rPr lang="en-US" dirty="0"/>
              <a:t>Master title style</a:t>
            </a:r>
            <a:endParaRPr lang="en-GB" dirty="0"/>
          </a:p>
        </p:txBody>
      </p:sp>
      <p:grpSp>
        <p:nvGrpSpPr>
          <p:cNvPr id="41" name="Group 40"/>
          <p:cNvGrpSpPr/>
          <p:nvPr userDrawn="1"/>
        </p:nvGrpSpPr>
        <p:grpSpPr>
          <a:xfrm>
            <a:off x="391318" y="384100"/>
            <a:ext cx="2361407" cy="427748"/>
            <a:chOff x="593725" y="633413"/>
            <a:chExt cx="13435013" cy="2433637"/>
          </a:xfrm>
        </p:grpSpPr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5505450" y="695325"/>
              <a:ext cx="614363" cy="866775"/>
            </a:xfrm>
            <a:custGeom>
              <a:avLst/>
              <a:gdLst>
                <a:gd name="T0" fmla="*/ 31 w 41"/>
                <a:gd name="T1" fmla="*/ 17 h 57"/>
                <a:gd name="T2" fmla="*/ 21 w 41"/>
                <a:gd name="T3" fmla="*/ 9 h 57"/>
                <a:gd name="T4" fmla="*/ 12 w 41"/>
                <a:gd name="T5" fmla="*/ 16 h 57"/>
                <a:gd name="T6" fmla="*/ 18 w 41"/>
                <a:gd name="T7" fmla="*/ 23 h 57"/>
                <a:gd name="T8" fmla="*/ 26 w 41"/>
                <a:gd name="T9" fmla="*/ 24 h 57"/>
                <a:gd name="T10" fmla="*/ 41 w 41"/>
                <a:gd name="T11" fmla="*/ 40 h 57"/>
                <a:gd name="T12" fmla="*/ 22 w 41"/>
                <a:gd name="T13" fmla="*/ 57 h 57"/>
                <a:gd name="T14" fmla="*/ 0 w 41"/>
                <a:gd name="T15" fmla="*/ 40 h 57"/>
                <a:gd name="T16" fmla="*/ 10 w 41"/>
                <a:gd name="T17" fmla="*/ 37 h 57"/>
                <a:gd name="T18" fmla="*/ 22 w 41"/>
                <a:gd name="T19" fmla="*/ 48 h 57"/>
                <a:gd name="T20" fmla="*/ 31 w 41"/>
                <a:gd name="T21" fmla="*/ 41 h 57"/>
                <a:gd name="T22" fmla="*/ 24 w 41"/>
                <a:gd name="T23" fmla="*/ 34 h 57"/>
                <a:gd name="T24" fmla="*/ 16 w 41"/>
                <a:gd name="T25" fmla="*/ 33 h 57"/>
                <a:gd name="T26" fmla="*/ 2 w 41"/>
                <a:gd name="T27" fmla="*/ 17 h 57"/>
                <a:gd name="T28" fmla="*/ 21 w 41"/>
                <a:gd name="T29" fmla="*/ 0 h 57"/>
                <a:gd name="T30" fmla="*/ 41 w 41"/>
                <a:gd name="T31" fmla="*/ 14 h 57"/>
                <a:gd name="T32" fmla="*/ 31 w 41"/>
                <a:gd name="T33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57">
                  <a:moveTo>
                    <a:pt x="31" y="17"/>
                  </a:moveTo>
                  <a:cubicBezTo>
                    <a:pt x="30" y="14"/>
                    <a:pt x="28" y="9"/>
                    <a:pt x="21" y="9"/>
                  </a:cubicBezTo>
                  <a:cubicBezTo>
                    <a:pt x="16" y="9"/>
                    <a:pt x="12" y="13"/>
                    <a:pt x="12" y="16"/>
                  </a:cubicBezTo>
                  <a:cubicBezTo>
                    <a:pt x="12" y="19"/>
                    <a:pt x="14" y="22"/>
                    <a:pt x="18" y="23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36" y="26"/>
                    <a:pt x="41" y="33"/>
                    <a:pt x="41" y="40"/>
                  </a:cubicBezTo>
                  <a:cubicBezTo>
                    <a:pt x="41" y="49"/>
                    <a:pt x="34" y="57"/>
                    <a:pt x="22" y="57"/>
                  </a:cubicBezTo>
                  <a:cubicBezTo>
                    <a:pt x="7" y="57"/>
                    <a:pt x="1" y="48"/>
                    <a:pt x="0" y="40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43"/>
                    <a:pt x="14" y="48"/>
                    <a:pt x="22" y="48"/>
                  </a:cubicBezTo>
                  <a:cubicBezTo>
                    <a:pt x="27" y="48"/>
                    <a:pt x="31" y="45"/>
                    <a:pt x="31" y="41"/>
                  </a:cubicBezTo>
                  <a:cubicBezTo>
                    <a:pt x="31" y="38"/>
                    <a:pt x="28" y="35"/>
                    <a:pt x="24" y="3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7" y="31"/>
                    <a:pt x="2" y="25"/>
                    <a:pt x="2" y="17"/>
                  </a:cubicBezTo>
                  <a:cubicBezTo>
                    <a:pt x="2" y="7"/>
                    <a:pt x="11" y="0"/>
                    <a:pt x="21" y="0"/>
                  </a:cubicBezTo>
                  <a:cubicBezTo>
                    <a:pt x="34" y="0"/>
                    <a:pt x="39" y="8"/>
                    <a:pt x="41" y="14"/>
                  </a:cubicBezTo>
                  <a:lnTo>
                    <a:pt x="31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6194425" y="952500"/>
              <a:ext cx="569913" cy="609600"/>
            </a:xfrm>
            <a:custGeom>
              <a:avLst/>
              <a:gdLst>
                <a:gd name="T0" fmla="*/ 10 w 38"/>
                <a:gd name="T1" fmla="*/ 20 h 40"/>
                <a:gd name="T2" fmla="*/ 20 w 38"/>
                <a:gd name="T3" fmla="*/ 31 h 40"/>
                <a:gd name="T4" fmla="*/ 29 w 38"/>
                <a:gd name="T5" fmla="*/ 24 h 40"/>
                <a:gd name="T6" fmla="*/ 38 w 38"/>
                <a:gd name="T7" fmla="*/ 27 h 40"/>
                <a:gd name="T8" fmla="*/ 20 w 38"/>
                <a:gd name="T9" fmla="*/ 40 h 40"/>
                <a:gd name="T10" fmla="*/ 0 w 38"/>
                <a:gd name="T11" fmla="*/ 20 h 40"/>
                <a:gd name="T12" fmla="*/ 20 w 38"/>
                <a:gd name="T13" fmla="*/ 0 h 40"/>
                <a:gd name="T14" fmla="*/ 38 w 38"/>
                <a:gd name="T15" fmla="*/ 13 h 40"/>
                <a:gd name="T16" fmla="*/ 28 w 38"/>
                <a:gd name="T17" fmla="*/ 16 h 40"/>
                <a:gd name="T18" fmla="*/ 20 w 38"/>
                <a:gd name="T19" fmla="*/ 9 h 40"/>
                <a:gd name="T20" fmla="*/ 10 w 38"/>
                <a:gd name="T21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40">
                  <a:moveTo>
                    <a:pt x="10" y="20"/>
                  </a:moveTo>
                  <a:cubicBezTo>
                    <a:pt x="10" y="27"/>
                    <a:pt x="15" y="31"/>
                    <a:pt x="20" y="31"/>
                  </a:cubicBezTo>
                  <a:cubicBezTo>
                    <a:pt x="25" y="31"/>
                    <a:pt x="28" y="27"/>
                    <a:pt x="29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6" y="34"/>
                    <a:pt x="30" y="40"/>
                    <a:pt x="20" y="40"/>
                  </a:cubicBezTo>
                  <a:cubicBezTo>
                    <a:pt x="9" y="40"/>
                    <a:pt x="0" y="32"/>
                    <a:pt x="0" y="20"/>
                  </a:cubicBezTo>
                  <a:cubicBezTo>
                    <a:pt x="0" y="8"/>
                    <a:pt x="9" y="0"/>
                    <a:pt x="20" y="0"/>
                  </a:cubicBezTo>
                  <a:cubicBezTo>
                    <a:pt x="30" y="0"/>
                    <a:pt x="36" y="6"/>
                    <a:pt x="38" y="13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3"/>
                    <a:pt x="25" y="9"/>
                    <a:pt x="20" y="9"/>
                  </a:cubicBezTo>
                  <a:cubicBezTo>
                    <a:pt x="15" y="9"/>
                    <a:pt x="10" y="13"/>
                    <a:pt x="10" y="2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6854825" y="679450"/>
              <a:ext cx="179388" cy="866775"/>
            </a:xfrm>
            <a:custGeom>
              <a:avLst/>
              <a:gdLst>
                <a:gd name="T0" fmla="*/ 1 w 12"/>
                <a:gd name="T1" fmla="*/ 19 h 57"/>
                <a:gd name="T2" fmla="*/ 11 w 12"/>
                <a:gd name="T3" fmla="*/ 19 h 57"/>
                <a:gd name="T4" fmla="*/ 11 w 12"/>
                <a:gd name="T5" fmla="*/ 57 h 57"/>
                <a:gd name="T6" fmla="*/ 1 w 12"/>
                <a:gd name="T7" fmla="*/ 57 h 57"/>
                <a:gd name="T8" fmla="*/ 1 w 12"/>
                <a:gd name="T9" fmla="*/ 19 h 57"/>
                <a:gd name="T10" fmla="*/ 6 w 12"/>
                <a:gd name="T11" fmla="*/ 0 h 57"/>
                <a:gd name="T12" fmla="*/ 12 w 12"/>
                <a:gd name="T13" fmla="*/ 6 h 57"/>
                <a:gd name="T14" fmla="*/ 6 w 12"/>
                <a:gd name="T15" fmla="*/ 13 h 57"/>
                <a:gd name="T16" fmla="*/ 0 w 12"/>
                <a:gd name="T17" fmla="*/ 6 h 57"/>
                <a:gd name="T18" fmla="*/ 6 w 12"/>
                <a:gd name="T1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57">
                  <a:moveTo>
                    <a:pt x="1" y="19"/>
                  </a:moveTo>
                  <a:cubicBezTo>
                    <a:pt x="11" y="19"/>
                    <a:pt x="11" y="19"/>
                    <a:pt x="11" y="19"/>
                  </a:cubicBezTo>
                  <a:cubicBezTo>
                    <a:pt x="11" y="57"/>
                    <a:pt x="11" y="57"/>
                    <a:pt x="11" y="57"/>
                  </a:cubicBezTo>
                  <a:cubicBezTo>
                    <a:pt x="1" y="57"/>
                    <a:pt x="1" y="57"/>
                    <a:pt x="1" y="57"/>
                  </a:cubicBezTo>
                  <a:lnTo>
                    <a:pt x="1" y="19"/>
                  </a:lnTo>
                  <a:close/>
                  <a:moveTo>
                    <a:pt x="6" y="0"/>
                  </a:moveTo>
                  <a:cubicBezTo>
                    <a:pt x="9" y="0"/>
                    <a:pt x="12" y="3"/>
                    <a:pt x="12" y="6"/>
                  </a:cubicBezTo>
                  <a:cubicBezTo>
                    <a:pt x="12" y="10"/>
                    <a:pt x="9" y="13"/>
                    <a:pt x="6" y="13"/>
                  </a:cubicBezTo>
                  <a:cubicBezTo>
                    <a:pt x="2" y="13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7138988" y="952500"/>
              <a:ext cx="554038" cy="609600"/>
            </a:xfrm>
            <a:custGeom>
              <a:avLst/>
              <a:gdLst>
                <a:gd name="T0" fmla="*/ 27 w 37"/>
                <a:gd name="T1" fmla="*/ 16 h 40"/>
                <a:gd name="T2" fmla="*/ 19 w 37"/>
                <a:gd name="T3" fmla="*/ 8 h 40"/>
                <a:gd name="T4" fmla="*/ 10 w 37"/>
                <a:gd name="T5" fmla="*/ 16 h 40"/>
                <a:gd name="T6" fmla="*/ 27 w 37"/>
                <a:gd name="T7" fmla="*/ 16 h 40"/>
                <a:gd name="T8" fmla="*/ 37 w 37"/>
                <a:gd name="T9" fmla="*/ 28 h 40"/>
                <a:gd name="T10" fmla="*/ 20 w 37"/>
                <a:gd name="T11" fmla="*/ 40 h 40"/>
                <a:gd name="T12" fmla="*/ 0 w 37"/>
                <a:gd name="T13" fmla="*/ 20 h 40"/>
                <a:gd name="T14" fmla="*/ 19 w 37"/>
                <a:gd name="T15" fmla="*/ 0 h 40"/>
                <a:gd name="T16" fmla="*/ 37 w 37"/>
                <a:gd name="T17" fmla="*/ 20 h 40"/>
                <a:gd name="T18" fmla="*/ 37 w 37"/>
                <a:gd name="T19" fmla="*/ 23 h 40"/>
                <a:gd name="T20" fmla="*/ 10 w 37"/>
                <a:gd name="T21" fmla="*/ 23 h 40"/>
                <a:gd name="T22" fmla="*/ 20 w 37"/>
                <a:gd name="T23" fmla="*/ 31 h 40"/>
                <a:gd name="T24" fmla="*/ 28 w 37"/>
                <a:gd name="T25" fmla="*/ 26 h 40"/>
                <a:gd name="T26" fmla="*/ 37 w 37"/>
                <a:gd name="T27" fmla="*/ 2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40">
                  <a:moveTo>
                    <a:pt x="27" y="16"/>
                  </a:moveTo>
                  <a:cubicBezTo>
                    <a:pt x="27" y="12"/>
                    <a:pt x="25" y="8"/>
                    <a:pt x="19" y="8"/>
                  </a:cubicBezTo>
                  <a:cubicBezTo>
                    <a:pt x="13" y="8"/>
                    <a:pt x="10" y="12"/>
                    <a:pt x="10" y="16"/>
                  </a:cubicBezTo>
                  <a:lnTo>
                    <a:pt x="27" y="16"/>
                  </a:lnTo>
                  <a:close/>
                  <a:moveTo>
                    <a:pt x="37" y="28"/>
                  </a:moveTo>
                  <a:cubicBezTo>
                    <a:pt x="35" y="35"/>
                    <a:pt x="29" y="40"/>
                    <a:pt x="20" y="40"/>
                  </a:cubicBezTo>
                  <a:cubicBezTo>
                    <a:pt x="9" y="40"/>
                    <a:pt x="0" y="33"/>
                    <a:pt x="0" y="20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30" y="0"/>
                    <a:pt x="37" y="7"/>
                    <a:pt x="37" y="20"/>
                  </a:cubicBezTo>
                  <a:cubicBezTo>
                    <a:pt x="37" y="21"/>
                    <a:pt x="37" y="23"/>
                    <a:pt x="3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8"/>
                    <a:pt x="14" y="31"/>
                    <a:pt x="20" y="31"/>
                  </a:cubicBezTo>
                  <a:cubicBezTo>
                    <a:pt x="24" y="31"/>
                    <a:pt x="27" y="29"/>
                    <a:pt x="28" y="26"/>
                  </a:cubicBezTo>
                  <a:lnTo>
                    <a:pt x="37" y="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20" name="Freeform 13"/>
            <p:cNvSpPr>
              <a:spLocks/>
            </p:cNvSpPr>
            <p:nvPr userDrawn="1"/>
          </p:nvSpPr>
          <p:spPr bwMode="auto">
            <a:xfrm>
              <a:off x="7812088" y="952500"/>
              <a:ext cx="509588" cy="593725"/>
            </a:xfrm>
            <a:custGeom>
              <a:avLst/>
              <a:gdLst>
                <a:gd name="T0" fmla="*/ 10 w 34"/>
                <a:gd name="T1" fmla="*/ 39 h 39"/>
                <a:gd name="T2" fmla="*/ 0 w 34"/>
                <a:gd name="T3" fmla="*/ 39 h 39"/>
                <a:gd name="T4" fmla="*/ 0 w 34"/>
                <a:gd name="T5" fmla="*/ 1 h 39"/>
                <a:gd name="T6" fmla="*/ 10 w 34"/>
                <a:gd name="T7" fmla="*/ 1 h 39"/>
                <a:gd name="T8" fmla="*/ 10 w 34"/>
                <a:gd name="T9" fmla="*/ 6 h 39"/>
                <a:gd name="T10" fmla="*/ 21 w 34"/>
                <a:gd name="T11" fmla="*/ 0 h 39"/>
                <a:gd name="T12" fmla="*/ 34 w 34"/>
                <a:gd name="T13" fmla="*/ 15 h 39"/>
                <a:gd name="T14" fmla="*/ 34 w 34"/>
                <a:gd name="T15" fmla="*/ 39 h 39"/>
                <a:gd name="T16" fmla="*/ 24 w 34"/>
                <a:gd name="T17" fmla="*/ 39 h 39"/>
                <a:gd name="T18" fmla="*/ 24 w 34"/>
                <a:gd name="T19" fmla="*/ 17 h 39"/>
                <a:gd name="T20" fmla="*/ 17 w 34"/>
                <a:gd name="T21" fmla="*/ 9 h 39"/>
                <a:gd name="T22" fmla="*/ 10 w 34"/>
                <a:gd name="T23" fmla="*/ 17 h 39"/>
                <a:gd name="T24" fmla="*/ 10 w 34"/>
                <a:gd name="T2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39">
                  <a:moveTo>
                    <a:pt x="10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2" y="2"/>
                    <a:pt x="17" y="0"/>
                    <a:pt x="21" y="0"/>
                  </a:cubicBezTo>
                  <a:cubicBezTo>
                    <a:pt x="30" y="0"/>
                    <a:pt x="34" y="7"/>
                    <a:pt x="34" y="15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3"/>
                    <a:pt x="22" y="9"/>
                    <a:pt x="17" y="9"/>
                  </a:cubicBezTo>
                  <a:cubicBezTo>
                    <a:pt x="13" y="9"/>
                    <a:pt x="10" y="13"/>
                    <a:pt x="10" y="17"/>
                  </a:cubicBezTo>
                  <a:lnTo>
                    <a:pt x="10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21" name="Freeform 14"/>
            <p:cNvSpPr>
              <a:spLocks/>
            </p:cNvSpPr>
            <p:nvPr userDrawn="1"/>
          </p:nvSpPr>
          <p:spPr bwMode="auto">
            <a:xfrm>
              <a:off x="8426450" y="952500"/>
              <a:ext cx="569913" cy="609600"/>
            </a:xfrm>
            <a:custGeom>
              <a:avLst/>
              <a:gdLst>
                <a:gd name="T0" fmla="*/ 10 w 38"/>
                <a:gd name="T1" fmla="*/ 20 h 40"/>
                <a:gd name="T2" fmla="*/ 20 w 38"/>
                <a:gd name="T3" fmla="*/ 31 h 40"/>
                <a:gd name="T4" fmla="*/ 29 w 38"/>
                <a:gd name="T5" fmla="*/ 24 h 40"/>
                <a:gd name="T6" fmla="*/ 38 w 38"/>
                <a:gd name="T7" fmla="*/ 27 h 40"/>
                <a:gd name="T8" fmla="*/ 20 w 38"/>
                <a:gd name="T9" fmla="*/ 40 h 40"/>
                <a:gd name="T10" fmla="*/ 0 w 38"/>
                <a:gd name="T11" fmla="*/ 20 h 40"/>
                <a:gd name="T12" fmla="*/ 20 w 38"/>
                <a:gd name="T13" fmla="*/ 0 h 40"/>
                <a:gd name="T14" fmla="*/ 38 w 38"/>
                <a:gd name="T15" fmla="*/ 13 h 40"/>
                <a:gd name="T16" fmla="*/ 28 w 38"/>
                <a:gd name="T17" fmla="*/ 16 h 40"/>
                <a:gd name="T18" fmla="*/ 20 w 38"/>
                <a:gd name="T19" fmla="*/ 9 h 40"/>
                <a:gd name="T20" fmla="*/ 10 w 38"/>
                <a:gd name="T21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40">
                  <a:moveTo>
                    <a:pt x="10" y="20"/>
                  </a:moveTo>
                  <a:cubicBezTo>
                    <a:pt x="10" y="27"/>
                    <a:pt x="15" y="31"/>
                    <a:pt x="20" y="31"/>
                  </a:cubicBezTo>
                  <a:cubicBezTo>
                    <a:pt x="25" y="31"/>
                    <a:pt x="28" y="27"/>
                    <a:pt x="29" y="24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6" y="34"/>
                    <a:pt x="30" y="40"/>
                    <a:pt x="20" y="40"/>
                  </a:cubicBezTo>
                  <a:cubicBezTo>
                    <a:pt x="9" y="40"/>
                    <a:pt x="0" y="32"/>
                    <a:pt x="0" y="20"/>
                  </a:cubicBezTo>
                  <a:cubicBezTo>
                    <a:pt x="0" y="8"/>
                    <a:pt x="9" y="0"/>
                    <a:pt x="20" y="0"/>
                  </a:cubicBezTo>
                  <a:cubicBezTo>
                    <a:pt x="30" y="0"/>
                    <a:pt x="36" y="6"/>
                    <a:pt x="38" y="13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7" y="13"/>
                    <a:pt x="25" y="9"/>
                    <a:pt x="20" y="9"/>
                  </a:cubicBezTo>
                  <a:cubicBezTo>
                    <a:pt x="15" y="9"/>
                    <a:pt x="10" y="13"/>
                    <a:pt x="10" y="2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22" name="Freeform 15"/>
            <p:cNvSpPr>
              <a:spLocks noEditPoints="1"/>
            </p:cNvSpPr>
            <p:nvPr userDrawn="1"/>
          </p:nvSpPr>
          <p:spPr bwMode="auto">
            <a:xfrm>
              <a:off x="9055100" y="952500"/>
              <a:ext cx="555625" cy="609600"/>
            </a:xfrm>
            <a:custGeom>
              <a:avLst/>
              <a:gdLst>
                <a:gd name="T0" fmla="*/ 27 w 37"/>
                <a:gd name="T1" fmla="*/ 16 h 40"/>
                <a:gd name="T2" fmla="*/ 19 w 37"/>
                <a:gd name="T3" fmla="*/ 8 h 40"/>
                <a:gd name="T4" fmla="*/ 10 w 37"/>
                <a:gd name="T5" fmla="*/ 16 h 40"/>
                <a:gd name="T6" fmla="*/ 27 w 37"/>
                <a:gd name="T7" fmla="*/ 16 h 40"/>
                <a:gd name="T8" fmla="*/ 37 w 37"/>
                <a:gd name="T9" fmla="*/ 28 h 40"/>
                <a:gd name="T10" fmla="*/ 19 w 37"/>
                <a:gd name="T11" fmla="*/ 40 h 40"/>
                <a:gd name="T12" fmla="*/ 0 w 37"/>
                <a:gd name="T13" fmla="*/ 20 h 40"/>
                <a:gd name="T14" fmla="*/ 19 w 37"/>
                <a:gd name="T15" fmla="*/ 0 h 40"/>
                <a:gd name="T16" fmla="*/ 37 w 37"/>
                <a:gd name="T17" fmla="*/ 20 h 40"/>
                <a:gd name="T18" fmla="*/ 37 w 37"/>
                <a:gd name="T19" fmla="*/ 23 h 40"/>
                <a:gd name="T20" fmla="*/ 10 w 37"/>
                <a:gd name="T21" fmla="*/ 23 h 40"/>
                <a:gd name="T22" fmla="*/ 20 w 37"/>
                <a:gd name="T23" fmla="*/ 31 h 40"/>
                <a:gd name="T24" fmla="*/ 28 w 37"/>
                <a:gd name="T25" fmla="*/ 26 h 40"/>
                <a:gd name="T26" fmla="*/ 37 w 37"/>
                <a:gd name="T27" fmla="*/ 2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40">
                  <a:moveTo>
                    <a:pt x="27" y="16"/>
                  </a:moveTo>
                  <a:cubicBezTo>
                    <a:pt x="27" y="12"/>
                    <a:pt x="25" y="8"/>
                    <a:pt x="19" y="8"/>
                  </a:cubicBezTo>
                  <a:cubicBezTo>
                    <a:pt x="13" y="8"/>
                    <a:pt x="10" y="12"/>
                    <a:pt x="10" y="16"/>
                  </a:cubicBezTo>
                  <a:lnTo>
                    <a:pt x="27" y="16"/>
                  </a:lnTo>
                  <a:close/>
                  <a:moveTo>
                    <a:pt x="37" y="28"/>
                  </a:moveTo>
                  <a:cubicBezTo>
                    <a:pt x="35" y="35"/>
                    <a:pt x="29" y="40"/>
                    <a:pt x="19" y="40"/>
                  </a:cubicBezTo>
                  <a:cubicBezTo>
                    <a:pt x="9" y="40"/>
                    <a:pt x="0" y="33"/>
                    <a:pt x="0" y="20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30" y="0"/>
                    <a:pt x="37" y="7"/>
                    <a:pt x="37" y="20"/>
                  </a:cubicBezTo>
                  <a:cubicBezTo>
                    <a:pt x="37" y="21"/>
                    <a:pt x="37" y="23"/>
                    <a:pt x="3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8"/>
                    <a:pt x="14" y="31"/>
                    <a:pt x="20" y="31"/>
                  </a:cubicBezTo>
                  <a:cubicBezTo>
                    <a:pt x="24" y="31"/>
                    <a:pt x="27" y="29"/>
                    <a:pt x="28" y="26"/>
                  </a:cubicBezTo>
                  <a:lnTo>
                    <a:pt x="37" y="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23" name="Oval 16"/>
            <p:cNvSpPr>
              <a:spLocks noChangeArrowheads="1"/>
            </p:cNvSpPr>
            <p:nvPr userDrawn="1"/>
          </p:nvSpPr>
          <p:spPr bwMode="auto">
            <a:xfrm>
              <a:off x="9715500" y="1333500"/>
              <a:ext cx="209550" cy="228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24" name="Freeform 17"/>
            <p:cNvSpPr>
              <a:spLocks noEditPoints="1"/>
            </p:cNvSpPr>
            <p:nvPr userDrawn="1"/>
          </p:nvSpPr>
          <p:spPr bwMode="auto">
            <a:xfrm>
              <a:off x="5476875" y="2001838"/>
              <a:ext cx="808038" cy="836612"/>
            </a:xfrm>
            <a:custGeom>
              <a:avLst/>
              <a:gdLst>
                <a:gd name="T0" fmla="*/ 188 w 509"/>
                <a:gd name="T1" fmla="*/ 317 h 527"/>
                <a:gd name="T2" fmla="*/ 330 w 509"/>
                <a:gd name="T3" fmla="*/ 317 h 527"/>
                <a:gd name="T4" fmla="*/ 254 w 509"/>
                <a:gd name="T5" fmla="*/ 115 h 527"/>
                <a:gd name="T6" fmla="*/ 188 w 509"/>
                <a:gd name="T7" fmla="*/ 317 h 527"/>
                <a:gd name="T8" fmla="*/ 358 w 509"/>
                <a:gd name="T9" fmla="*/ 412 h 527"/>
                <a:gd name="T10" fmla="*/ 151 w 509"/>
                <a:gd name="T11" fmla="*/ 412 h 527"/>
                <a:gd name="T12" fmla="*/ 103 w 509"/>
                <a:gd name="T13" fmla="*/ 527 h 527"/>
                <a:gd name="T14" fmla="*/ 0 w 509"/>
                <a:gd name="T15" fmla="*/ 527 h 527"/>
                <a:gd name="T16" fmla="*/ 198 w 509"/>
                <a:gd name="T17" fmla="*/ 0 h 527"/>
                <a:gd name="T18" fmla="*/ 320 w 509"/>
                <a:gd name="T19" fmla="*/ 0 h 527"/>
                <a:gd name="T20" fmla="*/ 509 w 509"/>
                <a:gd name="T21" fmla="*/ 527 h 527"/>
                <a:gd name="T22" fmla="*/ 405 w 509"/>
                <a:gd name="T23" fmla="*/ 527 h 527"/>
                <a:gd name="T24" fmla="*/ 358 w 509"/>
                <a:gd name="T25" fmla="*/ 412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9" h="527">
                  <a:moveTo>
                    <a:pt x="188" y="317"/>
                  </a:moveTo>
                  <a:lnTo>
                    <a:pt x="330" y="317"/>
                  </a:lnTo>
                  <a:lnTo>
                    <a:pt x="254" y="115"/>
                  </a:lnTo>
                  <a:lnTo>
                    <a:pt x="188" y="317"/>
                  </a:lnTo>
                  <a:close/>
                  <a:moveTo>
                    <a:pt x="358" y="412"/>
                  </a:moveTo>
                  <a:lnTo>
                    <a:pt x="151" y="412"/>
                  </a:lnTo>
                  <a:lnTo>
                    <a:pt x="103" y="527"/>
                  </a:lnTo>
                  <a:lnTo>
                    <a:pt x="0" y="527"/>
                  </a:lnTo>
                  <a:lnTo>
                    <a:pt x="198" y="0"/>
                  </a:lnTo>
                  <a:lnTo>
                    <a:pt x="320" y="0"/>
                  </a:lnTo>
                  <a:lnTo>
                    <a:pt x="509" y="527"/>
                  </a:lnTo>
                  <a:lnTo>
                    <a:pt x="405" y="527"/>
                  </a:lnTo>
                  <a:lnTo>
                    <a:pt x="358" y="4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25" name="Freeform 18"/>
            <p:cNvSpPr>
              <a:spLocks noEditPoints="1"/>
            </p:cNvSpPr>
            <p:nvPr userDrawn="1"/>
          </p:nvSpPr>
          <p:spPr bwMode="auto">
            <a:xfrm>
              <a:off x="6375400" y="2246313"/>
              <a:ext cx="584200" cy="820737"/>
            </a:xfrm>
            <a:custGeom>
              <a:avLst/>
              <a:gdLst>
                <a:gd name="T0" fmla="*/ 20 w 39"/>
                <a:gd name="T1" fmla="*/ 10 h 54"/>
                <a:gd name="T2" fmla="*/ 10 w 39"/>
                <a:gd name="T3" fmla="*/ 20 h 54"/>
                <a:gd name="T4" fmla="*/ 20 w 39"/>
                <a:gd name="T5" fmla="*/ 31 h 54"/>
                <a:gd name="T6" fmla="*/ 29 w 39"/>
                <a:gd name="T7" fmla="*/ 20 h 54"/>
                <a:gd name="T8" fmla="*/ 20 w 39"/>
                <a:gd name="T9" fmla="*/ 10 h 54"/>
                <a:gd name="T10" fmla="*/ 0 w 39"/>
                <a:gd name="T11" fmla="*/ 54 h 54"/>
                <a:gd name="T12" fmla="*/ 0 w 39"/>
                <a:gd name="T13" fmla="*/ 1 h 54"/>
                <a:gd name="T14" fmla="*/ 10 w 39"/>
                <a:gd name="T15" fmla="*/ 1 h 54"/>
                <a:gd name="T16" fmla="*/ 10 w 39"/>
                <a:gd name="T17" fmla="*/ 6 h 54"/>
                <a:gd name="T18" fmla="*/ 22 w 39"/>
                <a:gd name="T19" fmla="*/ 0 h 54"/>
                <a:gd name="T20" fmla="*/ 39 w 39"/>
                <a:gd name="T21" fmla="*/ 20 h 54"/>
                <a:gd name="T22" fmla="*/ 22 w 39"/>
                <a:gd name="T23" fmla="*/ 40 h 54"/>
                <a:gd name="T24" fmla="*/ 11 w 39"/>
                <a:gd name="T25" fmla="*/ 36 h 54"/>
                <a:gd name="T26" fmla="*/ 11 w 39"/>
                <a:gd name="T27" fmla="*/ 54 h 54"/>
                <a:gd name="T28" fmla="*/ 0 w 39"/>
                <a:gd name="T2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54">
                  <a:moveTo>
                    <a:pt x="20" y="10"/>
                  </a:moveTo>
                  <a:cubicBezTo>
                    <a:pt x="15" y="10"/>
                    <a:pt x="10" y="14"/>
                    <a:pt x="10" y="20"/>
                  </a:cubicBezTo>
                  <a:cubicBezTo>
                    <a:pt x="10" y="27"/>
                    <a:pt x="15" y="31"/>
                    <a:pt x="20" y="31"/>
                  </a:cubicBezTo>
                  <a:cubicBezTo>
                    <a:pt x="25" y="31"/>
                    <a:pt x="29" y="27"/>
                    <a:pt x="29" y="20"/>
                  </a:cubicBezTo>
                  <a:cubicBezTo>
                    <a:pt x="29" y="14"/>
                    <a:pt x="25" y="10"/>
                    <a:pt x="20" y="10"/>
                  </a:cubicBezTo>
                  <a:moveTo>
                    <a:pt x="0" y="54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2" y="3"/>
                    <a:pt x="16" y="0"/>
                    <a:pt x="22" y="0"/>
                  </a:cubicBezTo>
                  <a:cubicBezTo>
                    <a:pt x="33" y="0"/>
                    <a:pt x="39" y="9"/>
                    <a:pt x="39" y="20"/>
                  </a:cubicBezTo>
                  <a:cubicBezTo>
                    <a:pt x="39" y="32"/>
                    <a:pt x="32" y="40"/>
                    <a:pt x="22" y="40"/>
                  </a:cubicBezTo>
                  <a:cubicBezTo>
                    <a:pt x="16" y="40"/>
                    <a:pt x="12" y="38"/>
                    <a:pt x="11" y="36"/>
                  </a:cubicBezTo>
                  <a:cubicBezTo>
                    <a:pt x="11" y="54"/>
                    <a:pt x="11" y="54"/>
                    <a:pt x="11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26" name="Freeform 19"/>
            <p:cNvSpPr>
              <a:spLocks noEditPoints="1"/>
            </p:cNvSpPr>
            <p:nvPr userDrawn="1"/>
          </p:nvSpPr>
          <p:spPr bwMode="auto">
            <a:xfrm>
              <a:off x="7064375" y="2246313"/>
              <a:ext cx="598488" cy="820737"/>
            </a:xfrm>
            <a:custGeom>
              <a:avLst/>
              <a:gdLst>
                <a:gd name="T0" fmla="*/ 20 w 40"/>
                <a:gd name="T1" fmla="*/ 10 h 54"/>
                <a:gd name="T2" fmla="*/ 10 w 40"/>
                <a:gd name="T3" fmla="*/ 20 h 54"/>
                <a:gd name="T4" fmla="*/ 20 w 40"/>
                <a:gd name="T5" fmla="*/ 31 h 54"/>
                <a:gd name="T6" fmla="*/ 29 w 40"/>
                <a:gd name="T7" fmla="*/ 20 h 54"/>
                <a:gd name="T8" fmla="*/ 20 w 40"/>
                <a:gd name="T9" fmla="*/ 10 h 54"/>
                <a:gd name="T10" fmla="*/ 0 w 40"/>
                <a:gd name="T11" fmla="*/ 54 h 54"/>
                <a:gd name="T12" fmla="*/ 0 w 40"/>
                <a:gd name="T13" fmla="*/ 1 h 54"/>
                <a:gd name="T14" fmla="*/ 10 w 40"/>
                <a:gd name="T15" fmla="*/ 1 h 54"/>
                <a:gd name="T16" fmla="*/ 10 w 40"/>
                <a:gd name="T17" fmla="*/ 6 h 54"/>
                <a:gd name="T18" fmla="*/ 22 w 40"/>
                <a:gd name="T19" fmla="*/ 0 h 54"/>
                <a:gd name="T20" fmla="*/ 40 w 40"/>
                <a:gd name="T21" fmla="*/ 20 h 54"/>
                <a:gd name="T22" fmla="*/ 22 w 40"/>
                <a:gd name="T23" fmla="*/ 40 h 54"/>
                <a:gd name="T24" fmla="*/ 11 w 40"/>
                <a:gd name="T25" fmla="*/ 36 h 54"/>
                <a:gd name="T26" fmla="*/ 11 w 40"/>
                <a:gd name="T27" fmla="*/ 54 h 54"/>
                <a:gd name="T28" fmla="*/ 0 w 40"/>
                <a:gd name="T2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0" h="54">
                  <a:moveTo>
                    <a:pt x="20" y="10"/>
                  </a:moveTo>
                  <a:cubicBezTo>
                    <a:pt x="15" y="10"/>
                    <a:pt x="10" y="14"/>
                    <a:pt x="10" y="20"/>
                  </a:cubicBezTo>
                  <a:cubicBezTo>
                    <a:pt x="10" y="27"/>
                    <a:pt x="15" y="31"/>
                    <a:pt x="20" y="31"/>
                  </a:cubicBezTo>
                  <a:cubicBezTo>
                    <a:pt x="25" y="31"/>
                    <a:pt x="29" y="27"/>
                    <a:pt x="29" y="20"/>
                  </a:cubicBezTo>
                  <a:cubicBezTo>
                    <a:pt x="29" y="14"/>
                    <a:pt x="25" y="10"/>
                    <a:pt x="20" y="10"/>
                  </a:cubicBezTo>
                  <a:moveTo>
                    <a:pt x="0" y="54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2" y="3"/>
                    <a:pt x="16" y="0"/>
                    <a:pt x="22" y="0"/>
                  </a:cubicBezTo>
                  <a:cubicBezTo>
                    <a:pt x="33" y="0"/>
                    <a:pt x="40" y="9"/>
                    <a:pt x="40" y="20"/>
                  </a:cubicBezTo>
                  <a:cubicBezTo>
                    <a:pt x="40" y="32"/>
                    <a:pt x="32" y="40"/>
                    <a:pt x="22" y="40"/>
                  </a:cubicBezTo>
                  <a:cubicBezTo>
                    <a:pt x="16" y="40"/>
                    <a:pt x="12" y="38"/>
                    <a:pt x="11" y="36"/>
                  </a:cubicBezTo>
                  <a:cubicBezTo>
                    <a:pt x="11" y="54"/>
                    <a:pt x="11" y="54"/>
                    <a:pt x="11" y="54"/>
                  </a:cubicBezTo>
                  <a:lnTo>
                    <a:pt x="0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27" name="Rectangle 20"/>
            <p:cNvSpPr>
              <a:spLocks noChangeArrowheads="1"/>
            </p:cNvSpPr>
            <p:nvPr userDrawn="1"/>
          </p:nvSpPr>
          <p:spPr bwMode="auto">
            <a:xfrm>
              <a:off x="7767638" y="1987550"/>
              <a:ext cx="149225" cy="8509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28" name="Freeform 21"/>
            <p:cNvSpPr>
              <a:spLocks noEditPoints="1"/>
            </p:cNvSpPr>
            <p:nvPr userDrawn="1"/>
          </p:nvSpPr>
          <p:spPr bwMode="auto">
            <a:xfrm>
              <a:off x="8051800" y="1971675"/>
              <a:ext cx="195263" cy="866775"/>
            </a:xfrm>
            <a:custGeom>
              <a:avLst/>
              <a:gdLst>
                <a:gd name="T0" fmla="*/ 1 w 13"/>
                <a:gd name="T1" fmla="*/ 19 h 57"/>
                <a:gd name="T2" fmla="*/ 12 w 13"/>
                <a:gd name="T3" fmla="*/ 19 h 57"/>
                <a:gd name="T4" fmla="*/ 12 w 13"/>
                <a:gd name="T5" fmla="*/ 57 h 57"/>
                <a:gd name="T6" fmla="*/ 1 w 13"/>
                <a:gd name="T7" fmla="*/ 57 h 57"/>
                <a:gd name="T8" fmla="*/ 1 w 13"/>
                <a:gd name="T9" fmla="*/ 19 h 57"/>
                <a:gd name="T10" fmla="*/ 7 w 13"/>
                <a:gd name="T11" fmla="*/ 0 h 57"/>
                <a:gd name="T12" fmla="*/ 13 w 13"/>
                <a:gd name="T13" fmla="*/ 7 h 57"/>
                <a:gd name="T14" fmla="*/ 7 w 13"/>
                <a:gd name="T15" fmla="*/ 13 h 57"/>
                <a:gd name="T16" fmla="*/ 0 w 13"/>
                <a:gd name="T17" fmla="*/ 7 h 57"/>
                <a:gd name="T18" fmla="*/ 7 w 13"/>
                <a:gd name="T1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57">
                  <a:moveTo>
                    <a:pt x="1" y="19"/>
                  </a:moveTo>
                  <a:cubicBezTo>
                    <a:pt x="12" y="19"/>
                    <a:pt x="12" y="19"/>
                    <a:pt x="12" y="19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1" y="57"/>
                    <a:pt x="1" y="57"/>
                    <a:pt x="1" y="57"/>
                  </a:cubicBezTo>
                  <a:lnTo>
                    <a:pt x="1" y="19"/>
                  </a:lnTo>
                  <a:close/>
                  <a:moveTo>
                    <a:pt x="7" y="0"/>
                  </a:moveTo>
                  <a:cubicBezTo>
                    <a:pt x="10" y="0"/>
                    <a:pt x="13" y="3"/>
                    <a:pt x="13" y="7"/>
                  </a:cubicBezTo>
                  <a:cubicBezTo>
                    <a:pt x="13" y="10"/>
                    <a:pt x="10" y="13"/>
                    <a:pt x="7" y="13"/>
                  </a:cubicBezTo>
                  <a:cubicBezTo>
                    <a:pt x="3" y="13"/>
                    <a:pt x="0" y="10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29" name="Freeform 22"/>
            <p:cNvSpPr>
              <a:spLocks noEditPoints="1"/>
            </p:cNvSpPr>
            <p:nvPr userDrawn="1"/>
          </p:nvSpPr>
          <p:spPr bwMode="auto">
            <a:xfrm>
              <a:off x="8351838" y="2246313"/>
              <a:ext cx="554038" cy="608012"/>
            </a:xfrm>
            <a:custGeom>
              <a:avLst/>
              <a:gdLst>
                <a:gd name="T0" fmla="*/ 27 w 37"/>
                <a:gd name="T1" fmla="*/ 16 h 40"/>
                <a:gd name="T2" fmla="*/ 19 w 37"/>
                <a:gd name="T3" fmla="*/ 8 h 40"/>
                <a:gd name="T4" fmla="*/ 10 w 37"/>
                <a:gd name="T5" fmla="*/ 16 h 40"/>
                <a:gd name="T6" fmla="*/ 27 w 37"/>
                <a:gd name="T7" fmla="*/ 16 h 40"/>
                <a:gd name="T8" fmla="*/ 37 w 37"/>
                <a:gd name="T9" fmla="*/ 28 h 40"/>
                <a:gd name="T10" fmla="*/ 19 w 37"/>
                <a:gd name="T11" fmla="*/ 40 h 40"/>
                <a:gd name="T12" fmla="*/ 0 w 37"/>
                <a:gd name="T13" fmla="*/ 20 h 40"/>
                <a:gd name="T14" fmla="*/ 19 w 37"/>
                <a:gd name="T15" fmla="*/ 0 h 40"/>
                <a:gd name="T16" fmla="*/ 37 w 37"/>
                <a:gd name="T17" fmla="*/ 20 h 40"/>
                <a:gd name="T18" fmla="*/ 37 w 37"/>
                <a:gd name="T19" fmla="*/ 23 h 40"/>
                <a:gd name="T20" fmla="*/ 10 w 37"/>
                <a:gd name="T21" fmla="*/ 23 h 40"/>
                <a:gd name="T22" fmla="*/ 20 w 37"/>
                <a:gd name="T23" fmla="*/ 32 h 40"/>
                <a:gd name="T24" fmla="*/ 28 w 37"/>
                <a:gd name="T25" fmla="*/ 26 h 40"/>
                <a:gd name="T26" fmla="*/ 37 w 37"/>
                <a:gd name="T27" fmla="*/ 2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40">
                  <a:moveTo>
                    <a:pt x="27" y="16"/>
                  </a:moveTo>
                  <a:cubicBezTo>
                    <a:pt x="27" y="12"/>
                    <a:pt x="25" y="8"/>
                    <a:pt x="19" y="8"/>
                  </a:cubicBezTo>
                  <a:cubicBezTo>
                    <a:pt x="13" y="8"/>
                    <a:pt x="10" y="12"/>
                    <a:pt x="10" y="16"/>
                  </a:cubicBezTo>
                  <a:lnTo>
                    <a:pt x="27" y="16"/>
                  </a:lnTo>
                  <a:close/>
                  <a:moveTo>
                    <a:pt x="37" y="28"/>
                  </a:moveTo>
                  <a:cubicBezTo>
                    <a:pt x="35" y="35"/>
                    <a:pt x="29" y="40"/>
                    <a:pt x="19" y="40"/>
                  </a:cubicBezTo>
                  <a:cubicBezTo>
                    <a:pt x="9" y="40"/>
                    <a:pt x="0" y="33"/>
                    <a:pt x="0" y="20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30" y="0"/>
                    <a:pt x="37" y="8"/>
                    <a:pt x="37" y="20"/>
                  </a:cubicBezTo>
                  <a:cubicBezTo>
                    <a:pt x="37" y="21"/>
                    <a:pt x="37" y="23"/>
                    <a:pt x="3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8"/>
                    <a:pt x="14" y="32"/>
                    <a:pt x="20" y="32"/>
                  </a:cubicBezTo>
                  <a:cubicBezTo>
                    <a:pt x="24" y="32"/>
                    <a:pt x="27" y="29"/>
                    <a:pt x="28" y="26"/>
                  </a:cubicBezTo>
                  <a:lnTo>
                    <a:pt x="37" y="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30" name="Freeform 23"/>
            <p:cNvSpPr>
              <a:spLocks noEditPoints="1"/>
            </p:cNvSpPr>
            <p:nvPr userDrawn="1"/>
          </p:nvSpPr>
          <p:spPr bwMode="auto">
            <a:xfrm>
              <a:off x="8980488" y="1987550"/>
              <a:ext cx="600075" cy="866775"/>
            </a:xfrm>
            <a:custGeom>
              <a:avLst/>
              <a:gdLst>
                <a:gd name="T0" fmla="*/ 20 w 40"/>
                <a:gd name="T1" fmla="*/ 48 h 57"/>
                <a:gd name="T2" fmla="*/ 30 w 40"/>
                <a:gd name="T3" fmla="*/ 37 h 57"/>
                <a:gd name="T4" fmla="*/ 20 w 40"/>
                <a:gd name="T5" fmla="*/ 26 h 57"/>
                <a:gd name="T6" fmla="*/ 11 w 40"/>
                <a:gd name="T7" fmla="*/ 37 h 57"/>
                <a:gd name="T8" fmla="*/ 20 w 40"/>
                <a:gd name="T9" fmla="*/ 48 h 57"/>
                <a:gd name="T10" fmla="*/ 40 w 40"/>
                <a:gd name="T11" fmla="*/ 49 h 57"/>
                <a:gd name="T12" fmla="*/ 40 w 40"/>
                <a:gd name="T13" fmla="*/ 56 h 57"/>
                <a:gd name="T14" fmla="*/ 30 w 40"/>
                <a:gd name="T15" fmla="*/ 56 h 57"/>
                <a:gd name="T16" fmla="*/ 30 w 40"/>
                <a:gd name="T17" fmla="*/ 52 h 57"/>
                <a:gd name="T18" fmla="*/ 19 w 40"/>
                <a:gd name="T19" fmla="*/ 57 h 57"/>
                <a:gd name="T20" fmla="*/ 0 w 40"/>
                <a:gd name="T21" fmla="*/ 37 h 57"/>
                <a:gd name="T22" fmla="*/ 19 w 40"/>
                <a:gd name="T23" fmla="*/ 17 h 57"/>
                <a:gd name="T24" fmla="*/ 30 w 40"/>
                <a:gd name="T25" fmla="*/ 22 h 57"/>
                <a:gd name="T26" fmla="*/ 30 w 40"/>
                <a:gd name="T27" fmla="*/ 0 h 57"/>
                <a:gd name="T28" fmla="*/ 40 w 40"/>
                <a:gd name="T29" fmla="*/ 0 h 57"/>
                <a:gd name="T30" fmla="*/ 40 w 40"/>
                <a:gd name="T31" fmla="*/ 4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57">
                  <a:moveTo>
                    <a:pt x="20" y="48"/>
                  </a:moveTo>
                  <a:cubicBezTo>
                    <a:pt x="26" y="48"/>
                    <a:pt x="30" y="44"/>
                    <a:pt x="30" y="37"/>
                  </a:cubicBezTo>
                  <a:cubicBezTo>
                    <a:pt x="30" y="30"/>
                    <a:pt x="26" y="26"/>
                    <a:pt x="20" y="26"/>
                  </a:cubicBezTo>
                  <a:cubicBezTo>
                    <a:pt x="15" y="26"/>
                    <a:pt x="11" y="30"/>
                    <a:pt x="11" y="37"/>
                  </a:cubicBezTo>
                  <a:cubicBezTo>
                    <a:pt x="11" y="44"/>
                    <a:pt x="15" y="48"/>
                    <a:pt x="20" y="48"/>
                  </a:cubicBezTo>
                  <a:moveTo>
                    <a:pt x="40" y="49"/>
                  </a:moveTo>
                  <a:cubicBezTo>
                    <a:pt x="40" y="52"/>
                    <a:pt x="40" y="55"/>
                    <a:pt x="40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56"/>
                    <a:pt x="30" y="54"/>
                    <a:pt x="30" y="52"/>
                  </a:cubicBezTo>
                  <a:cubicBezTo>
                    <a:pt x="28" y="55"/>
                    <a:pt x="24" y="57"/>
                    <a:pt x="19" y="57"/>
                  </a:cubicBezTo>
                  <a:cubicBezTo>
                    <a:pt x="8" y="57"/>
                    <a:pt x="0" y="49"/>
                    <a:pt x="0" y="37"/>
                  </a:cubicBezTo>
                  <a:cubicBezTo>
                    <a:pt x="0" y="26"/>
                    <a:pt x="8" y="17"/>
                    <a:pt x="19" y="17"/>
                  </a:cubicBezTo>
                  <a:cubicBezTo>
                    <a:pt x="25" y="17"/>
                    <a:pt x="28" y="20"/>
                    <a:pt x="30" y="22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40" y="4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31" name="Freeform 24"/>
            <p:cNvSpPr>
              <a:spLocks/>
            </p:cNvSpPr>
            <p:nvPr userDrawn="1"/>
          </p:nvSpPr>
          <p:spPr bwMode="auto">
            <a:xfrm>
              <a:off x="9925050" y="2093913"/>
              <a:ext cx="374650" cy="760412"/>
            </a:xfrm>
            <a:custGeom>
              <a:avLst/>
              <a:gdLst>
                <a:gd name="T0" fmla="*/ 17 w 25"/>
                <a:gd name="T1" fmla="*/ 11 h 50"/>
                <a:gd name="T2" fmla="*/ 25 w 25"/>
                <a:gd name="T3" fmla="*/ 11 h 50"/>
                <a:gd name="T4" fmla="*/ 25 w 25"/>
                <a:gd name="T5" fmla="*/ 20 h 50"/>
                <a:gd name="T6" fmla="*/ 17 w 25"/>
                <a:gd name="T7" fmla="*/ 20 h 50"/>
                <a:gd name="T8" fmla="*/ 17 w 25"/>
                <a:gd name="T9" fmla="*/ 36 h 50"/>
                <a:gd name="T10" fmla="*/ 22 w 25"/>
                <a:gd name="T11" fmla="*/ 41 h 50"/>
                <a:gd name="T12" fmla="*/ 25 w 25"/>
                <a:gd name="T13" fmla="*/ 40 h 50"/>
                <a:gd name="T14" fmla="*/ 25 w 25"/>
                <a:gd name="T15" fmla="*/ 49 h 50"/>
                <a:gd name="T16" fmla="*/ 19 w 25"/>
                <a:gd name="T17" fmla="*/ 50 h 50"/>
                <a:gd name="T18" fmla="*/ 7 w 25"/>
                <a:gd name="T19" fmla="*/ 38 h 50"/>
                <a:gd name="T20" fmla="*/ 7 w 25"/>
                <a:gd name="T21" fmla="*/ 20 h 50"/>
                <a:gd name="T22" fmla="*/ 0 w 25"/>
                <a:gd name="T23" fmla="*/ 20 h 50"/>
                <a:gd name="T24" fmla="*/ 0 w 25"/>
                <a:gd name="T25" fmla="*/ 11 h 50"/>
                <a:gd name="T26" fmla="*/ 2 w 25"/>
                <a:gd name="T27" fmla="*/ 11 h 50"/>
                <a:gd name="T28" fmla="*/ 8 w 25"/>
                <a:gd name="T29" fmla="*/ 5 h 50"/>
                <a:gd name="T30" fmla="*/ 8 w 25"/>
                <a:gd name="T31" fmla="*/ 0 h 50"/>
                <a:gd name="T32" fmla="*/ 17 w 25"/>
                <a:gd name="T33" fmla="*/ 0 h 50"/>
                <a:gd name="T34" fmla="*/ 17 w 25"/>
                <a:gd name="T35" fmla="*/ 1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5" h="50">
                  <a:moveTo>
                    <a:pt x="17" y="11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40"/>
                    <a:pt x="19" y="41"/>
                    <a:pt x="22" y="41"/>
                  </a:cubicBezTo>
                  <a:cubicBezTo>
                    <a:pt x="23" y="41"/>
                    <a:pt x="24" y="41"/>
                    <a:pt x="25" y="40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4" y="49"/>
                    <a:pt x="22" y="50"/>
                    <a:pt x="19" y="50"/>
                  </a:cubicBezTo>
                  <a:cubicBezTo>
                    <a:pt x="12" y="50"/>
                    <a:pt x="7" y="45"/>
                    <a:pt x="7" y="38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6" y="11"/>
                    <a:pt x="8" y="9"/>
                    <a:pt x="8" y="5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17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32" name="Freeform 25"/>
            <p:cNvSpPr>
              <a:spLocks noEditPoints="1"/>
            </p:cNvSpPr>
            <p:nvPr userDrawn="1"/>
          </p:nvSpPr>
          <p:spPr bwMode="auto">
            <a:xfrm>
              <a:off x="10374313" y="2246313"/>
              <a:ext cx="598488" cy="608012"/>
            </a:xfrm>
            <a:custGeom>
              <a:avLst/>
              <a:gdLst>
                <a:gd name="T0" fmla="*/ 30 w 40"/>
                <a:gd name="T1" fmla="*/ 20 h 40"/>
                <a:gd name="T2" fmla="*/ 20 w 40"/>
                <a:gd name="T3" fmla="*/ 9 h 40"/>
                <a:gd name="T4" fmla="*/ 10 w 40"/>
                <a:gd name="T5" fmla="*/ 20 h 40"/>
                <a:gd name="T6" fmla="*/ 20 w 40"/>
                <a:gd name="T7" fmla="*/ 31 h 40"/>
                <a:gd name="T8" fmla="*/ 30 w 40"/>
                <a:gd name="T9" fmla="*/ 20 h 40"/>
                <a:gd name="T10" fmla="*/ 40 w 40"/>
                <a:gd name="T11" fmla="*/ 20 h 40"/>
                <a:gd name="T12" fmla="*/ 20 w 40"/>
                <a:gd name="T13" fmla="*/ 40 h 40"/>
                <a:gd name="T14" fmla="*/ 0 w 40"/>
                <a:gd name="T15" fmla="*/ 20 h 40"/>
                <a:gd name="T16" fmla="*/ 20 w 40"/>
                <a:gd name="T17" fmla="*/ 0 h 40"/>
                <a:gd name="T18" fmla="*/ 40 w 40"/>
                <a:gd name="T19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30" y="20"/>
                  </a:moveTo>
                  <a:cubicBezTo>
                    <a:pt x="30" y="13"/>
                    <a:pt x="25" y="9"/>
                    <a:pt x="20" y="9"/>
                  </a:cubicBezTo>
                  <a:cubicBezTo>
                    <a:pt x="15" y="9"/>
                    <a:pt x="10" y="13"/>
                    <a:pt x="10" y="20"/>
                  </a:cubicBezTo>
                  <a:cubicBezTo>
                    <a:pt x="10" y="27"/>
                    <a:pt x="15" y="31"/>
                    <a:pt x="20" y="31"/>
                  </a:cubicBezTo>
                  <a:cubicBezTo>
                    <a:pt x="25" y="31"/>
                    <a:pt x="30" y="27"/>
                    <a:pt x="30" y="20"/>
                  </a:cubicBezTo>
                  <a:moveTo>
                    <a:pt x="40" y="20"/>
                  </a:moveTo>
                  <a:cubicBezTo>
                    <a:pt x="40" y="32"/>
                    <a:pt x="31" y="40"/>
                    <a:pt x="20" y="40"/>
                  </a:cubicBezTo>
                  <a:cubicBezTo>
                    <a:pt x="9" y="40"/>
                    <a:pt x="0" y="32"/>
                    <a:pt x="0" y="20"/>
                  </a:cubicBezTo>
                  <a:cubicBezTo>
                    <a:pt x="0" y="8"/>
                    <a:pt x="9" y="0"/>
                    <a:pt x="20" y="0"/>
                  </a:cubicBezTo>
                  <a:cubicBezTo>
                    <a:pt x="31" y="0"/>
                    <a:pt x="40" y="8"/>
                    <a:pt x="40" y="2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33" name="Freeform 26"/>
            <p:cNvSpPr>
              <a:spLocks/>
            </p:cNvSpPr>
            <p:nvPr userDrawn="1"/>
          </p:nvSpPr>
          <p:spPr bwMode="auto">
            <a:xfrm>
              <a:off x="11303000" y="2001838"/>
              <a:ext cx="538163" cy="836612"/>
            </a:xfrm>
            <a:custGeom>
              <a:avLst/>
              <a:gdLst>
                <a:gd name="T0" fmla="*/ 0 w 339"/>
                <a:gd name="T1" fmla="*/ 527 h 527"/>
                <a:gd name="T2" fmla="*/ 0 w 339"/>
                <a:gd name="T3" fmla="*/ 0 h 527"/>
                <a:gd name="T4" fmla="*/ 103 w 339"/>
                <a:gd name="T5" fmla="*/ 0 h 527"/>
                <a:gd name="T6" fmla="*/ 103 w 339"/>
                <a:gd name="T7" fmla="*/ 431 h 527"/>
                <a:gd name="T8" fmla="*/ 339 w 339"/>
                <a:gd name="T9" fmla="*/ 431 h 527"/>
                <a:gd name="T10" fmla="*/ 339 w 339"/>
                <a:gd name="T11" fmla="*/ 527 h 527"/>
                <a:gd name="T12" fmla="*/ 0 w 339"/>
                <a:gd name="T13" fmla="*/ 52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9" h="527">
                  <a:moveTo>
                    <a:pt x="0" y="527"/>
                  </a:moveTo>
                  <a:lnTo>
                    <a:pt x="0" y="0"/>
                  </a:lnTo>
                  <a:lnTo>
                    <a:pt x="103" y="0"/>
                  </a:lnTo>
                  <a:lnTo>
                    <a:pt x="103" y="431"/>
                  </a:lnTo>
                  <a:lnTo>
                    <a:pt x="339" y="431"/>
                  </a:lnTo>
                  <a:lnTo>
                    <a:pt x="339" y="527"/>
                  </a:lnTo>
                  <a:lnTo>
                    <a:pt x="0" y="52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34" name="Freeform 27"/>
            <p:cNvSpPr>
              <a:spLocks noEditPoints="1"/>
            </p:cNvSpPr>
            <p:nvPr userDrawn="1"/>
          </p:nvSpPr>
          <p:spPr bwMode="auto">
            <a:xfrm>
              <a:off x="11915775" y="1971675"/>
              <a:ext cx="195263" cy="866775"/>
            </a:xfrm>
            <a:custGeom>
              <a:avLst/>
              <a:gdLst>
                <a:gd name="T0" fmla="*/ 2 w 13"/>
                <a:gd name="T1" fmla="*/ 19 h 57"/>
                <a:gd name="T2" fmla="*/ 12 w 13"/>
                <a:gd name="T3" fmla="*/ 19 h 57"/>
                <a:gd name="T4" fmla="*/ 12 w 13"/>
                <a:gd name="T5" fmla="*/ 57 h 57"/>
                <a:gd name="T6" fmla="*/ 2 w 13"/>
                <a:gd name="T7" fmla="*/ 57 h 57"/>
                <a:gd name="T8" fmla="*/ 2 w 13"/>
                <a:gd name="T9" fmla="*/ 19 h 57"/>
                <a:gd name="T10" fmla="*/ 7 w 13"/>
                <a:gd name="T11" fmla="*/ 0 h 57"/>
                <a:gd name="T12" fmla="*/ 13 w 13"/>
                <a:gd name="T13" fmla="*/ 7 h 57"/>
                <a:gd name="T14" fmla="*/ 7 w 13"/>
                <a:gd name="T15" fmla="*/ 13 h 57"/>
                <a:gd name="T16" fmla="*/ 0 w 13"/>
                <a:gd name="T17" fmla="*/ 7 h 57"/>
                <a:gd name="T18" fmla="*/ 7 w 13"/>
                <a:gd name="T1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57">
                  <a:moveTo>
                    <a:pt x="2" y="19"/>
                  </a:moveTo>
                  <a:cubicBezTo>
                    <a:pt x="12" y="19"/>
                    <a:pt x="12" y="19"/>
                    <a:pt x="12" y="19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2" y="57"/>
                    <a:pt x="2" y="57"/>
                    <a:pt x="2" y="57"/>
                  </a:cubicBezTo>
                  <a:lnTo>
                    <a:pt x="2" y="19"/>
                  </a:lnTo>
                  <a:close/>
                  <a:moveTo>
                    <a:pt x="7" y="0"/>
                  </a:moveTo>
                  <a:cubicBezTo>
                    <a:pt x="10" y="0"/>
                    <a:pt x="13" y="3"/>
                    <a:pt x="13" y="7"/>
                  </a:cubicBezTo>
                  <a:cubicBezTo>
                    <a:pt x="13" y="10"/>
                    <a:pt x="10" y="13"/>
                    <a:pt x="7" y="13"/>
                  </a:cubicBezTo>
                  <a:cubicBezTo>
                    <a:pt x="3" y="13"/>
                    <a:pt x="0" y="10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35" name="Freeform 28"/>
            <p:cNvSpPr>
              <a:spLocks/>
            </p:cNvSpPr>
            <p:nvPr userDrawn="1"/>
          </p:nvSpPr>
          <p:spPr bwMode="auto">
            <a:xfrm>
              <a:off x="12215813" y="1987550"/>
              <a:ext cx="374650" cy="850900"/>
            </a:xfrm>
            <a:custGeom>
              <a:avLst/>
              <a:gdLst>
                <a:gd name="T0" fmla="*/ 16 w 25"/>
                <a:gd name="T1" fmla="*/ 14 h 56"/>
                <a:gd name="T2" fmla="*/ 16 w 25"/>
                <a:gd name="T3" fmla="*/ 18 h 56"/>
                <a:gd name="T4" fmla="*/ 25 w 25"/>
                <a:gd name="T5" fmla="*/ 18 h 56"/>
                <a:gd name="T6" fmla="*/ 25 w 25"/>
                <a:gd name="T7" fmla="*/ 27 h 56"/>
                <a:gd name="T8" fmla="*/ 16 w 25"/>
                <a:gd name="T9" fmla="*/ 27 h 56"/>
                <a:gd name="T10" fmla="*/ 16 w 25"/>
                <a:gd name="T11" fmla="*/ 56 h 56"/>
                <a:gd name="T12" fmla="*/ 6 w 25"/>
                <a:gd name="T13" fmla="*/ 56 h 56"/>
                <a:gd name="T14" fmla="*/ 6 w 25"/>
                <a:gd name="T15" fmla="*/ 27 h 56"/>
                <a:gd name="T16" fmla="*/ 0 w 25"/>
                <a:gd name="T17" fmla="*/ 27 h 56"/>
                <a:gd name="T18" fmla="*/ 0 w 25"/>
                <a:gd name="T19" fmla="*/ 18 h 56"/>
                <a:gd name="T20" fmla="*/ 6 w 25"/>
                <a:gd name="T21" fmla="*/ 18 h 56"/>
                <a:gd name="T22" fmla="*/ 6 w 25"/>
                <a:gd name="T23" fmla="*/ 14 h 56"/>
                <a:gd name="T24" fmla="*/ 20 w 25"/>
                <a:gd name="T25" fmla="*/ 0 h 56"/>
                <a:gd name="T26" fmla="*/ 25 w 25"/>
                <a:gd name="T27" fmla="*/ 0 h 56"/>
                <a:gd name="T28" fmla="*/ 25 w 25"/>
                <a:gd name="T29" fmla="*/ 9 h 56"/>
                <a:gd name="T30" fmla="*/ 22 w 25"/>
                <a:gd name="T31" fmla="*/ 9 h 56"/>
                <a:gd name="T32" fmla="*/ 16 w 25"/>
                <a:gd name="T33" fmla="*/ 1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56">
                  <a:moveTo>
                    <a:pt x="16" y="14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5"/>
                    <a:pt x="11" y="0"/>
                    <a:pt x="20" y="0"/>
                  </a:cubicBezTo>
                  <a:cubicBezTo>
                    <a:pt x="22" y="0"/>
                    <a:pt x="24" y="0"/>
                    <a:pt x="25" y="0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4" y="9"/>
                    <a:pt x="23" y="9"/>
                    <a:pt x="22" y="9"/>
                  </a:cubicBezTo>
                  <a:cubicBezTo>
                    <a:pt x="19" y="9"/>
                    <a:pt x="16" y="10"/>
                    <a:pt x="16" y="1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36" name="Freeform 29"/>
            <p:cNvSpPr>
              <a:spLocks noEditPoints="1"/>
            </p:cNvSpPr>
            <p:nvPr userDrawn="1"/>
          </p:nvSpPr>
          <p:spPr bwMode="auto">
            <a:xfrm>
              <a:off x="12620625" y="2246313"/>
              <a:ext cx="568325" cy="608012"/>
            </a:xfrm>
            <a:custGeom>
              <a:avLst/>
              <a:gdLst>
                <a:gd name="T0" fmla="*/ 28 w 38"/>
                <a:gd name="T1" fmla="*/ 16 h 40"/>
                <a:gd name="T2" fmla="*/ 19 w 38"/>
                <a:gd name="T3" fmla="*/ 8 h 40"/>
                <a:gd name="T4" fmla="*/ 11 w 38"/>
                <a:gd name="T5" fmla="*/ 16 h 40"/>
                <a:gd name="T6" fmla="*/ 28 w 38"/>
                <a:gd name="T7" fmla="*/ 16 h 40"/>
                <a:gd name="T8" fmla="*/ 37 w 38"/>
                <a:gd name="T9" fmla="*/ 28 h 40"/>
                <a:gd name="T10" fmla="*/ 20 w 38"/>
                <a:gd name="T11" fmla="*/ 40 h 40"/>
                <a:gd name="T12" fmla="*/ 0 w 38"/>
                <a:gd name="T13" fmla="*/ 20 h 40"/>
                <a:gd name="T14" fmla="*/ 19 w 38"/>
                <a:gd name="T15" fmla="*/ 0 h 40"/>
                <a:gd name="T16" fmla="*/ 38 w 38"/>
                <a:gd name="T17" fmla="*/ 20 h 40"/>
                <a:gd name="T18" fmla="*/ 38 w 38"/>
                <a:gd name="T19" fmla="*/ 23 h 40"/>
                <a:gd name="T20" fmla="*/ 10 w 38"/>
                <a:gd name="T21" fmla="*/ 23 h 40"/>
                <a:gd name="T22" fmla="*/ 20 w 38"/>
                <a:gd name="T23" fmla="*/ 32 h 40"/>
                <a:gd name="T24" fmla="*/ 29 w 38"/>
                <a:gd name="T25" fmla="*/ 26 h 40"/>
                <a:gd name="T26" fmla="*/ 37 w 38"/>
                <a:gd name="T27" fmla="*/ 2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40">
                  <a:moveTo>
                    <a:pt x="28" y="16"/>
                  </a:moveTo>
                  <a:cubicBezTo>
                    <a:pt x="28" y="12"/>
                    <a:pt x="25" y="8"/>
                    <a:pt x="19" y="8"/>
                  </a:cubicBezTo>
                  <a:cubicBezTo>
                    <a:pt x="14" y="8"/>
                    <a:pt x="11" y="12"/>
                    <a:pt x="11" y="16"/>
                  </a:cubicBezTo>
                  <a:lnTo>
                    <a:pt x="28" y="16"/>
                  </a:lnTo>
                  <a:close/>
                  <a:moveTo>
                    <a:pt x="37" y="28"/>
                  </a:moveTo>
                  <a:cubicBezTo>
                    <a:pt x="35" y="35"/>
                    <a:pt x="29" y="40"/>
                    <a:pt x="20" y="40"/>
                  </a:cubicBezTo>
                  <a:cubicBezTo>
                    <a:pt x="9" y="40"/>
                    <a:pt x="0" y="33"/>
                    <a:pt x="0" y="20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31" y="0"/>
                    <a:pt x="38" y="8"/>
                    <a:pt x="38" y="20"/>
                  </a:cubicBezTo>
                  <a:cubicBezTo>
                    <a:pt x="38" y="21"/>
                    <a:pt x="38" y="23"/>
                    <a:pt x="38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1" y="28"/>
                    <a:pt x="15" y="32"/>
                    <a:pt x="20" y="32"/>
                  </a:cubicBezTo>
                  <a:cubicBezTo>
                    <a:pt x="25" y="32"/>
                    <a:pt x="27" y="29"/>
                    <a:pt x="29" y="26"/>
                  </a:cubicBezTo>
                  <a:lnTo>
                    <a:pt x="37" y="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37" name="Oval 30"/>
            <p:cNvSpPr>
              <a:spLocks noChangeArrowheads="1"/>
            </p:cNvSpPr>
            <p:nvPr userDrawn="1"/>
          </p:nvSpPr>
          <p:spPr bwMode="auto">
            <a:xfrm>
              <a:off x="13279438" y="2641600"/>
              <a:ext cx="209550" cy="2127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38" name="Freeform 31"/>
            <p:cNvSpPr>
              <a:spLocks noEditPoints="1"/>
            </p:cNvSpPr>
            <p:nvPr userDrawn="1"/>
          </p:nvSpPr>
          <p:spPr bwMode="auto">
            <a:xfrm>
              <a:off x="593725" y="633413"/>
              <a:ext cx="4238625" cy="2266950"/>
            </a:xfrm>
            <a:custGeom>
              <a:avLst/>
              <a:gdLst>
                <a:gd name="T0" fmla="*/ 124 w 283"/>
                <a:gd name="T1" fmla="*/ 86 h 149"/>
                <a:gd name="T2" fmla="*/ 108 w 283"/>
                <a:gd name="T3" fmla="*/ 70 h 149"/>
                <a:gd name="T4" fmla="*/ 124 w 283"/>
                <a:gd name="T5" fmla="*/ 51 h 149"/>
                <a:gd name="T6" fmla="*/ 124 w 283"/>
                <a:gd name="T7" fmla="*/ 86 h 149"/>
                <a:gd name="T8" fmla="*/ 223 w 283"/>
                <a:gd name="T9" fmla="*/ 4 h 149"/>
                <a:gd name="T10" fmla="*/ 203 w 283"/>
                <a:gd name="T11" fmla="*/ 87 h 149"/>
                <a:gd name="T12" fmla="*/ 182 w 283"/>
                <a:gd name="T13" fmla="*/ 4 h 149"/>
                <a:gd name="T14" fmla="*/ 124 w 283"/>
                <a:gd name="T15" fmla="*/ 4 h 149"/>
                <a:gd name="T16" fmla="*/ 124 w 283"/>
                <a:gd name="T17" fmla="*/ 35 h 149"/>
                <a:gd name="T18" fmla="*/ 67 w 283"/>
                <a:gd name="T19" fmla="*/ 1 h 149"/>
                <a:gd name="T20" fmla="*/ 5 w 283"/>
                <a:gd name="T21" fmla="*/ 51 h 149"/>
                <a:gd name="T22" fmla="*/ 45 w 283"/>
                <a:gd name="T23" fmla="*/ 51 h 149"/>
                <a:gd name="T24" fmla="*/ 65 w 283"/>
                <a:gd name="T25" fmla="*/ 33 h 149"/>
                <a:gd name="T26" fmla="*/ 83 w 283"/>
                <a:gd name="T27" fmla="*/ 46 h 149"/>
                <a:gd name="T28" fmla="*/ 65 w 283"/>
                <a:gd name="T29" fmla="*/ 58 h 149"/>
                <a:gd name="T30" fmla="*/ 52 w 283"/>
                <a:gd name="T31" fmla="*/ 58 h 149"/>
                <a:gd name="T32" fmla="*/ 52 w 283"/>
                <a:gd name="T33" fmla="*/ 85 h 149"/>
                <a:gd name="T34" fmla="*/ 64 w 283"/>
                <a:gd name="T35" fmla="*/ 85 h 149"/>
                <a:gd name="T36" fmla="*/ 81 w 283"/>
                <a:gd name="T37" fmla="*/ 99 h 149"/>
                <a:gd name="T38" fmla="*/ 63 w 283"/>
                <a:gd name="T39" fmla="*/ 115 h 149"/>
                <a:gd name="T40" fmla="*/ 41 w 283"/>
                <a:gd name="T41" fmla="*/ 89 h 149"/>
                <a:gd name="T42" fmla="*/ 0 w 283"/>
                <a:gd name="T43" fmla="*/ 89 h 149"/>
                <a:gd name="T44" fmla="*/ 64 w 283"/>
                <a:gd name="T45" fmla="*/ 148 h 149"/>
                <a:gd name="T46" fmla="*/ 124 w 283"/>
                <a:gd name="T47" fmla="*/ 118 h 149"/>
                <a:gd name="T48" fmla="*/ 124 w 283"/>
                <a:gd name="T49" fmla="*/ 145 h 149"/>
                <a:gd name="T50" fmla="*/ 163 w 283"/>
                <a:gd name="T51" fmla="*/ 145 h 149"/>
                <a:gd name="T52" fmla="*/ 163 w 283"/>
                <a:gd name="T53" fmla="*/ 56 h 149"/>
                <a:gd name="T54" fmla="*/ 185 w 283"/>
                <a:gd name="T55" fmla="*/ 145 h 149"/>
                <a:gd name="T56" fmla="*/ 220 w 283"/>
                <a:gd name="T57" fmla="*/ 145 h 149"/>
                <a:gd name="T58" fmla="*/ 242 w 283"/>
                <a:gd name="T59" fmla="*/ 56 h 149"/>
                <a:gd name="T60" fmla="*/ 242 w 283"/>
                <a:gd name="T61" fmla="*/ 145 h 149"/>
                <a:gd name="T62" fmla="*/ 283 w 283"/>
                <a:gd name="T63" fmla="*/ 145 h 149"/>
                <a:gd name="T64" fmla="*/ 283 w 283"/>
                <a:gd name="T65" fmla="*/ 4 h 149"/>
                <a:gd name="T66" fmla="*/ 223 w 283"/>
                <a:gd name="T67" fmla="*/ 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3" h="149">
                  <a:moveTo>
                    <a:pt x="124" y="86"/>
                  </a:moveTo>
                  <a:cubicBezTo>
                    <a:pt x="119" y="76"/>
                    <a:pt x="112" y="71"/>
                    <a:pt x="108" y="70"/>
                  </a:cubicBezTo>
                  <a:cubicBezTo>
                    <a:pt x="116" y="66"/>
                    <a:pt x="120" y="61"/>
                    <a:pt x="124" y="51"/>
                  </a:cubicBezTo>
                  <a:lnTo>
                    <a:pt x="124" y="86"/>
                  </a:lnTo>
                  <a:close/>
                  <a:moveTo>
                    <a:pt x="223" y="4"/>
                  </a:moveTo>
                  <a:cubicBezTo>
                    <a:pt x="203" y="87"/>
                    <a:pt x="203" y="87"/>
                    <a:pt x="203" y="87"/>
                  </a:cubicBezTo>
                  <a:cubicBezTo>
                    <a:pt x="182" y="4"/>
                    <a:pt x="182" y="4"/>
                    <a:pt x="182" y="4"/>
                  </a:cubicBezTo>
                  <a:cubicBezTo>
                    <a:pt x="124" y="4"/>
                    <a:pt x="124" y="4"/>
                    <a:pt x="124" y="4"/>
                  </a:cubicBezTo>
                  <a:cubicBezTo>
                    <a:pt x="124" y="35"/>
                    <a:pt x="124" y="35"/>
                    <a:pt x="124" y="35"/>
                  </a:cubicBezTo>
                  <a:cubicBezTo>
                    <a:pt x="116" y="8"/>
                    <a:pt x="90" y="1"/>
                    <a:pt x="67" y="1"/>
                  </a:cubicBezTo>
                  <a:cubicBezTo>
                    <a:pt x="38" y="0"/>
                    <a:pt x="7" y="13"/>
                    <a:pt x="5" y="51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45" y="39"/>
                    <a:pt x="55" y="33"/>
                    <a:pt x="65" y="33"/>
                  </a:cubicBezTo>
                  <a:cubicBezTo>
                    <a:pt x="77" y="33"/>
                    <a:pt x="83" y="38"/>
                    <a:pt x="83" y="46"/>
                  </a:cubicBezTo>
                  <a:cubicBezTo>
                    <a:pt x="83" y="53"/>
                    <a:pt x="79" y="58"/>
                    <a:pt x="65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71" y="85"/>
                    <a:pt x="81" y="89"/>
                    <a:pt x="81" y="99"/>
                  </a:cubicBezTo>
                  <a:cubicBezTo>
                    <a:pt x="81" y="110"/>
                    <a:pt x="73" y="115"/>
                    <a:pt x="63" y="115"/>
                  </a:cubicBezTo>
                  <a:cubicBezTo>
                    <a:pt x="46" y="115"/>
                    <a:pt x="41" y="101"/>
                    <a:pt x="41" y="89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97"/>
                    <a:pt x="0" y="149"/>
                    <a:pt x="64" y="148"/>
                  </a:cubicBezTo>
                  <a:cubicBezTo>
                    <a:pt x="95" y="149"/>
                    <a:pt x="117" y="136"/>
                    <a:pt x="124" y="118"/>
                  </a:cubicBezTo>
                  <a:cubicBezTo>
                    <a:pt x="124" y="145"/>
                    <a:pt x="124" y="145"/>
                    <a:pt x="124" y="145"/>
                  </a:cubicBezTo>
                  <a:cubicBezTo>
                    <a:pt x="163" y="145"/>
                    <a:pt x="163" y="145"/>
                    <a:pt x="163" y="145"/>
                  </a:cubicBezTo>
                  <a:cubicBezTo>
                    <a:pt x="163" y="56"/>
                    <a:pt x="163" y="56"/>
                    <a:pt x="163" y="56"/>
                  </a:cubicBezTo>
                  <a:cubicBezTo>
                    <a:pt x="185" y="145"/>
                    <a:pt x="185" y="145"/>
                    <a:pt x="185" y="145"/>
                  </a:cubicBezTo>
                  <a:cubicBezTo>
                    <a:pt x="220" y="145"/>
                    <a:pt x="220" y="145"/>
                    <a:pt x="220" y="145"/>
                  </a:cubicBezTo>
                  <a:cubicBezTo>
                    <a:pt x="242" y="56"/>
                    <a:pt x="242" y="56"/>
                    <a:pt x="242" y="56"/>
                  </a:cubicBezTo>
                  <a:cubicBezTo>
                    <a:pt x="242" y="145"/>
                    <a:pt x="242" y="145"/>
                    <a:pt x="242" y="145"/>
                  </a:cubicBezTo>
                  <a:cubicBezTo>
                    <a:pt x="283" y="145"/>
                    <a:pt x="283" y="145"/>
                    <a:pt x="283" y="145"/>
                  </a:cubicBezTo>
                  <a:cubicBezTo>
                    <a:pt x="283" y="4"/>
                    <a:pt x="283" y="4"/>
                    <a:pt x="283" y="4"/>
                  </a:cubicBezTo>
                  <a:lnTo>
                    <a:pt x="223" y="4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39" name="Freeform 32"/>
            <p:cNvSpPr>
              <a:spLocks/>
            </p:cNvSpPr>
            <p:nvPr userDrawn="1"/>
          </p:nvSpPr>
          <p:spPr bwMode="auto">
            <a:xfrm>
              <a:off x="13742988" y="2001838"/>
              <a:ext cx="285750" cy="258762"/>
            </a:xfrm>
            <a:custGeom>
              <a:avLst/>
              <a:gdLst>
                <a:gd name="T0" fmla="*/ 133 w 180"/>
                <a:gd name="T1" fmla="*/ 0 h 163"/>
                <a:gd name="T2" fmla="*/ 95 w 180"/>
                <a:gd name="T3" fmla="*/ 125 h 163"/>
                <a:gd name="T4" fmla="*/ 48 w 180"/>
                <a:gd name="T5" fmla="*/ 0 h 163"/>
                <a:gd name="T6" fmla="*/ 0 w 180"/>
                <a:gd name="T7" fmla="*/ 0 h 163"/>
                <a:gd name="T8" fmla="*/ 0 w 180"/>
                <a:gd name="T9" fmla="*/ 163 h 163"/>
                <a:gd name="T10" fmla="*/ 29 w 180"/>
                <a:gd name="T11" fmla="*/ 163 h 163"/>
                <a:gd name="T12" fmla="*/ 29 w 180"/>
                <a:gd name="T13" fmla="*/ 58 h 163"/>
                <a:gd name="T14" fmla="*/ 76 w 180"/>
                <a:gd name="T15" fmla="*/ 163 h 163"/>
                <a:gd name="T16" fmla="*/ 104 w 180"/>
                <a:gd name="T17" fmla="*/ 163 h 163"/>
                <a:gd name="T18" fmla="*/ 151 w 180"/>
                <a:gd name="T19" fmla="*/ 58 h 163"/>
                <a:gd name="T20" fmla="*/ 151 w 180"/>
                <a:gd name="T21" fmla="*/ 163 h 163"/>
                <a:gd name="T22" fmla="*/ 180 w 180"/>
                <a:gd name="T23" fmla="*/ 163 h 163"/>
                <a:gd name="T24" fmla="*/ 180 w 180"/>
                <a:gd name="T25" fmla="*/ 0 h 163"/>
                <a:gd name="T26" fmla="*/ 133 w 180"/>
                <a:gd name="T2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0" h="163">
                  <a:moveTo>
                    <a:pt x="133" y="0"/>
                  </a:moveTo>
                  <a:lnTo>
                    <a:pt x="95" y="125"/>
                  </a:lnTo>
                  <a:lnTo>
                    <a:pt x="48" y="0"/>
                  </a:lnTo>
                  <a:lnTo>
                    <a:pt x="0" y="0"/>
                  </a:lnTo>
                  <a:lnTo>
                    <a:pt x="0" y="163"/>
                  </a:lnTo>
                  <a:lnTo>
                    <a:pt x="29" y="163"/>
                  </a:lnTo>
                  <a:lnTo>
                    <a:pt x="29" y="58"/>
                  </a:lnTo>
                  <a:lnTo>
                    <a:pt x="76" y="163"/>
                  </a:lnTo>
                  <a:lnTo>
                    <a:pt x="104" y="163"/>
                  </a:lnTo>
                  <a:lnTo>
                    <a:pt x="151" y="58"/>
                  </a:lnTo>
                  <a:lnTo>
                    <a:pt x="151" y="163"/>
                  </a:lnTo>
                  <a:lnTo>
                    <a:pt x="180" y="163"/>
                  </a:lnTo>
                  <a:lnTo>
                    <a:pt x="180" y="0"/>
                  </a:lnTo>
                  <a:lnTo>
                    <a:pt x="13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  <p:sp>
          <p:nvSpPr>
            <p:cNvPr id="40" name="Freeform 33"/>
            <p:cNvSpPr>
              <a:spLocks/>
            </p:cNvSpPr>
            <p:nvPr userDrawn="1"/>
          </p:nvSpPr>
          <p:spPr bwMode="auto">
            <a:xfrm>
              <a:off x="13488988" y="2001838"/>
              <a:ext cx="209550" cy="258762"/>
            </a:xfrm>
            <a:custGeom>
              <a:avLst/>
              <a:gdLst>
                <a:gd name="T0" fmla="*/ 0 w 132"/>
                <a:gd name="T1" fmla="*/ 0 h 163"/>
                <a:gd name="T2" fmla="*/ 132 w 132"/>
                <a:gd name="T3" fmla="*/ 0 h 163"/>
                <a:gd name="T4" fmla="*/ 132 w 132"/>
                <a:gd name="T5" fmla="*/ 39 h 163"/>
                <a:gd name="T6" fmla="*/ 85 w 132"/>
                <a:gd name="T7" fmla="*/ 39 h 163"/>
                <a:gd name="T8" fmla="*/ 85 w 132"/>
                <a:gd name="T9" fmla="*/ 163 h 163"/>
                <a:gd name="T10" fmla="*/ 57 w 132"/>
                <a:gd name="T11" fmla="*/ 163 h 163"/>
                <a:gd name="T12" fmla="*/ 57 w 132"/>
                <a:gd name="T13" fmla="*/ 39 h 163"/>
                <a:gd name="T14" fmla="*/ 0 w 132"/>
                <a:gd name="T15" fmla="*/ 39 h 163"/>
                <a:gd name="T16" fmla="*/ 0 w 132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63">
                  <a:moveTo>
                    <a:pt x="0" y="0"/>
                  </a:moveTo>
                  <a:lnTo>
                    <a:pt x="132" y="0"/>
                  </a:lnTo>
                  <a:lnTo>
                    <a:pt x="132" y="39"/>
                  </a:lnTo>
                  <a:lnTo>
                    <a:pt x="85" y="39"/>
                  </a:lnTo>
                  <a:lnTo>
                    <a:pt x="85" y="163"/>
                  </a:lnTo>
                  <a:lnTo>
                    <a:pt x="57" y="163"/>
                  </a:lnTo>
                  <a:lnTo>
                    <a:pt x="57" y="39"/>
                  </a:lnTo>
                  <a:lnTo>
                    <a:pt x="0" y="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/>
            </a:p>
          </p:txBody>
        </p:sp>
      </p:grpSp>
      <p:sp>
        <p:nvSpPr>
          <p:cNvPr id="4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79413" y="3327356"/>
            <a:ext cx="9521825" cy="1477328"/>
          </a:xfrm>
        </p:spPr>
        <p:txBody>
          <a:bodyPr vert="horz" wrap="square" lIns="0" tIns="0" rIns="0" bIns="0" anchor="t" anchorCtr="0">
            <a:noAutofit/>
          </a:bodyPr>
          <a:lstStyle>
            <a:lvl1pPr marL="0" indent="0">
              <a:buNone/>
              <a:defRPr lang="en-US" sz="480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49" name="Date Placeholder 3"/>
          <p:cNvSpPr>
            <a:spLocks noGrp="1"/>
          </p:cNvSpPr>
          <p:nvPr>
            <p:ph type="dt" sz="half" idx="12"/>
          </p:nvPr>
        </p:nvSpPr>
        <p:spPr>
          <a:xfrm>
            <a:off x="379413" y="6541346"/>
            <a:ext cx="1925637" cy="129600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>
              <a:defRPr sz="600">
                <a:latin typeface="+mj-lt"/>
              </a:defRPr>
            </a:lvl1pPr>
          </a:lstStyle>
          <a:p>
            <a:fld id="{90BFBC2B-DD7F-42A3-88FF-0CE1FD35A22A}" type="datetime6">
              <a:rPr lang="en-US" smtClean="0"/>
              <a:t>February 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8764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667000" y="-2666999"/>
            <a:ext cx="6858000" cy="12192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413" y="1333500"/>
            <a:ext cx="9521825" cy="4127499"/>
          </a:xfrm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5217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667000" y="-2667000"/>
            <a:ext cx="6858000" cy="12192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413" y="1333500"/>
            <a:ext cx="9521825" cy="4127499"/>
          </a:xfrm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920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4449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83000">
                <a:srgbClr val="003CE6"/>
              </a:gs>
              <a:gs pos="0">
                <a:srgbClr val="00C8E6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413" y="1333500"/>
            <a:ext cx="9521825" cy="4127499"/>
          </a:xfrm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2372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666333" y="-2665476"/>
            <a:ext cx="6856286" cy="121889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413" y="1333500"/>
            <a:ext cx="9521825" cy="4127499"/>
          </a:xfrm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8880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PT Content and 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9566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4178340" y="379413"/>
            <a:ext cx="3821072" cy="5873750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0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7988648" y="379413"/>
            <a:ext cx="3816002" cy="5873750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3" y="379413"/>
            <a:ext cx="3816000" cy="10128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1392238"/>
            <a:ext cx="3816000" cy="4860925"/>
          </a:xfrm>
        </p:spPr>
        <p:txBody>
          <a:bodyPr/>
          <a:lstStyle>
            <a:lvl1pPr>
              <a:defRPr sz="2000"/>
            </a:lvl1pPr>
            <a:lvl2pPr marL="92075" indent="-92075">
              <a:defRPr sz="2000"/>
            </a:lvl2pPr>
            <a:lvl3pPr marL="182563" indent="-90488">
              <a:defRPr sz="2000"/>
            </a:lvl3pPr>
            <a:lvl4pPr marL="266700" indent="-84138">
              <a:defRPr sz="2000"/>
            </a:lvl4pPr>
            <a:lvl5pPr marL="357188" indent="-90488"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>
              <a:solidFill>
                <a:prstClr val="black"/>
              </a:solidFill>
            </a:endParaRPr>
          </a:p>
        </p:txBody>
      </p:sp>
      <p:grpSp>
        <p:nvGrpSpPr>
          <p:cNvPr id="12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3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5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6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1 February 2019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7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 dirty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4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8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64706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0PT Content and 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1022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4178340" y="379413"/>
            <a:ext cx="2538578" cy="5873750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1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6716918" y="379413"/>
            <a:ext cx="2576798" cy="5873750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2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9293716" y="379413"/>
            <a:ext cx="2510933" cy="5873750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3" y="379413"/>
            <a:ext cx="3816000" cy="10128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1392238"/>
            <a:ext cx="3816000" cy="4860925"/>
          </a:xfrm>
        </p:spPr>
        <p:txBody>
          <a:bodyPr/>
          <a:lstStyle>
            <a:lvl1pPr>
              <a:defRPr sz="2000"/>
            </a:lvl1pPr>
            <a:lvl2pPr marL="92075" indent="-92075">
              <a:defRPr sz="2000"/>
            </a:lvl2pPr>
            <a:lvl3pPr marL="182563" indent="-90488">
              <a:defRPr sz="2000"/>
            </a:lvl3pPr>
            <a:lvl4pPr marL="266700" indent="-84138">
              <a:defRPr sz="2000"/>
            </a:lvl4pPr>
            <a:lvl5pPr marL="357188" indent="-90488"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>
              <a:solidFill>
                <a:prstClr val="black"/>
              </a:solidFill>
            </a:endParaRPr>
          </a:p>
        </p:txBody>
      </p:sp>
      <p:grpSp>
        <p:nvGrpSpPr>
          <p:cNvPr id="13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4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6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7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1 February 2019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8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 dirty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5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9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8477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0PT Content and 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95803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9"/>
          <p:cNvSpPr>
            <a:spLocks noGrp="1"/>
          </p:cNvSpPr>
          <p:nvPr>
            <p:ph type="pic" sz="quarter" idx="21"/>
          </p:nvPr>
        </p:nvSpPr>
        <p:spPr>
          <a:xfrm>
            <a:off x="4178340" y="379413"/>
            <a:ext cx="3800450" cy="2935224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3" name="Picture Placeholder 9"/>
          <p:cNvSpPr>
            <a:spLocks noGrp="1"/>
          </p:cNvSpPr>
          <p:nvPr>
            <p:ph type="pic" sz="quarter" idx="22"/>
          </p:nvPr>
        </p:nvSpPr>
        <p:spPr>
          <a:xfrm>
            <a:off x="7978790" y="379413"/>
            <a:ext cx="3825860" cy="2935224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4" name="Picture Placeholder 9"/>
          <p:cNvSpPr>
            <a:spLocks noGrp="1"/>
          </p:cNvSpPr>
          <p:nvPr>
            <p:ph type="pic" sz="quarter" idx="23"/>
          </p:nvPr>
        </p:nvSpPr>
        <p:spPr>
          <a:xfrm>
            <a:off x="4178340" y="3314637"/>
            <a:ext cx="3800449" cy="2938526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5" name="Picture Placeholder 9"/>
          <p:cNvSpPr>
            <a:spLocks noGrp="1"/>
          </p:cNvSpPr>
          <p:nvPr>
            <p:ph type="pic" sz="quarter" idx="24"/>
          </p:nvPr>
        </p:nvSpPr>
        <p:spPr>
          <a:xfrm>
            <a:off x="7978788" y="3314637"/>
            <a:ext cx="3825861" cy="2938526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3" y="379413"/>
            <a:ext cx="3816000" cy="10128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1392238"/>
            <a:ext cx="3816000" cy="4860925"/>
          </a:xfrm>
        </p:spPr>
        <p:txBody>
          <a:bodyPr/>
          <a:lstStyle>
            <a:lvl1pPr>
              <a:defRPr sz="2000"/>
            </a:lvl1pPr>
            <a:lvl2pPr marL="92075" indent="-92075">
              <a:defRPr sz="2000"/>
            </a:lvl2pPr>
            <a:lvl3pPr marL="182563" indent="-90488">
              <a:defRPr sz="2000"/>
            </a:lvl3pPr>
            <a:lvl4pPr marL="266700" indent="-84138">
              <a:defRPr sz="2000"/>
            </a:lvl4pPr>
            <a:lvl5pPr marL="357188" indent="-90488"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>
              <a:solidFill>
                <a:prstClr val="black"/>
              </a:solidFill>
            </a:endParaRPr>
          </a:p>
        </p:txBody>
      </p:sp>
      <p:grpSp>
        <p:nvGrpSpPr>
          <p:cNvPr id="15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6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8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9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1 February 2019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20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 dirty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7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21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755158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0PT Content and 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04101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9"/>
          <p:cNvSpPr>
            <a:spLocks noGrp="1"/>
          </p:cNvSpPr>
          <p:nvPr>
            <p:ph type="pic" sz="quarter" idx="22"/>
          </p:nvPr>
        </p:nvSpPr>
        <p:spPr>
          <a:xfrm>
            <a:off x="4178340" y="379413"/>
            <a:ext cx="3821690" cy="2938526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4" name="Picture Placeholder 9"/>
          <p:cNvSpPr>
            <a:spLocks noGrp="1"/>
          </p:cNvSpPr>
          <p:nvPr>
            <p:ph type="pic" sz="quarter" idx="23"/>
          </p:nvPr>
        </p:nvSpPr>
        <p:spPr>
          <a:xfrm>
            <a:off x="8005720" y="379413"/>
            <a:ext cx="3798929" cy="2938526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5" name="Picture Placeholder 9"/>
          <p:cNvSpPr>
            <a:spLocks noGrp="1"/>
          </p:cNvSpPr>
          <p:nvPr>
            <p:ph type="pic" sz="quarter" idx="24"/>
          </p:nvPr>
        </p:nvSpPr>
        <p:spPr>
          <a:xfrm>
            <a:off x="4178340" y="3314637"/>
            <a:ext cx="2538579" cy="2938526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6" name="Picture Placeholder 9"/>
          <p:cNvSpPr>
            <a:spLocks noGrp="1"/>
          </p:cNvSpPr>
          <p:nvPr>
            <p:ph type="pic" sz="quarter" idx="25"/>
          </p:nvPr>
        </p:nvSpPr>
        <p:spPr>
          <a:xfrm>
            <a:off x="6716918" y="3314637"/>
            <a:ext cx="2516935" cy="2938526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7" name="Picture Placeholder 9"/>
          <p:cNvSpPr>
            <a:spLocks noGrp="1"/>
          </p:cNvSpPr>
          <p:nvPr>
            <p:ph type="pic" sz="quarter" idx="26"/>
          </p:nvPr>
        </p:nvSpPr>
        <p:spPr>
          <a:xfrm>
            <a:off x="9247520" y="3314637"/>
            <a:ext cx="2557130" cy="2938526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3" y="379413"/>
            <a:ext cx="3816000" cy="10128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1392238"/>
            <a:ext cx="3816000" cy="4860925"/>
          </a:xfrm>
        </p:spPr>
        <p:txBody>
          <a:bodyPr/>
          <a:lstStyle>
            <a:lvl1pPr>
              <a:defRPr sz="2000"/>
            </a:lvl1pPr>
            <a:lvl2pPr marL="92075" indent="-92075">
              <a:defRPr sz="2000"/>
            </a:lvl2pPr>
            <a:lvl3pPr marL="182563" indent="-90488">
              <a:defRPr sz="2000"/>
            </a:lvl3pPr>
            <a:lvl4pPr marL="266700" indent="-84138">
              <a:defRPr sz="2000"/>
            </a:lvl4pPr>
            <a:lvl5pPr marL="357188" indent="-90488"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>
              <a:solidFill>
                <a:prstClr val="black"/>
              </a:solidFill>
            </a:endParaRPr>
          </a:p>
        </p:txBody>
      </p:sp>
      <p:grpSp>
        <p:nvGrpSpPr>
          <p:cNvPr id="1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2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1 February 2019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2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 dirty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2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04489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11430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0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 February 2019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0" y="1"/>
            <a:ext cx="12192000" cy="152402"/>
          </a:xfrm>
          <a:prstGeom prst="rect">
            <a:avLst/>
          </a:prstGeom>
          <a:gradFill>
            <a:gsLst>
              <a:gs pos="0">
                <a:srgbClr val="00C8E6"/>
              </a:gs>
              <a:gs pos="97000">
                <a:srgbClr val="1E1E9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339344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0PT Content and 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65497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9"/>
          <p:cNvSpPr>
            <a:spLocks noGrp="1"/>
          </p:cNvSpPr>
          <p:nvPr>
            <p:ph type="pic" sz="quarter" idx="25"/>
          </p:nvPr>
        </p:nvSpPr>
        <p:spPr>
          <a:xfrm>
            <a:off x="4178340" y="379413"/>
            <a:ext cx="2538579" cy="2935224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6" name="Picture Placeholder 9"/>
          <p:cNvSpPr>
            <a:spLocks noGrp="1"/>
          </p:cNvSpPr>
          <p:nvPr>
            <p:ph type="pic" sz="quarter" idx="26"/>
          </p:nvPr>
        </p:nvSpPr>
        <p:spPr>
          <a:xfrm>
            <a:off x="6716918" y="379413"/>
            <a:ext cx="2533915" cy="2928620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7" name="Picture Placeholder 9"/>
          <p:cNvSpPr>
            <a:spLocks noGrp="1"/>
          </p:cNvSpPr>
          <p:nvPr>
            <p:ph type="pic" sz="quarter" idx="27"/>
          </p:nvPr>
        </p:nvSpPr>
        <p:spPr>
          <a:xfrm>
            <a:off x="9254144" y="379413"/>
            <a:ext cx="2550505" cy="2935224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8" name="Picture Placeholder 9"/>
          <p:cNvSpPr>
            <a:spLocks noGrp="1"/>
          </p:cNvSpPr>
          <p:nvPr>
            <p:ph type="pic" sz="quarter" idx="28"/>
          </p:nvPr>
        </p:nvSpPr>
        <p:spPr>
          <a:xfrm>
            <a:off x="4178340" y="3308033"/>
            <a:ext cx="2538579" cy="2935224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9" name="Picture Placeholder 9"/>
          <p:cNvSpPr>
            <a:spLocks noGrp="1"/>
          </p:cNvSpPr>
          <p:nvPr>
            <p:ph type="pic" sz="quarter" idx="29"/>
          </p:nvPr>
        </p:nvSpPr>
        <p:spPr>
          <a:xfrm>
            <a:off x="6716918" y="3308033"/>
            <a:ext cx="2533915" cy="2928620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0" name="Picture Placeholder 9"/>
          <p:cNvSpPr>
            <a:spLocks noGrp="1"/>
          </p:cNvSpPr>
          <p:nvPr>
            <p:ph type="pic" sz="quarter" idx="30"/>
          </p:nvPr>
        </p:nvSpPr>
        <p:spPr>
          <a:xfrm>
            <a:off x="9254144" y="3308033"/>
            <a:ext cx="2550505" cy="2935224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3" y="379413"/>
            <a:ext cx="3816000" cy="10128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1392238"/>
            <a:ext cx="3816000" cy="4860925"/>
          </a:xfrm>
        </p:spPr>
        <p:txBody>
          <a:bodyPr/>
          <a:lstStyle>
            <a:lvl1pPr>
              <a:defRPr sz="2000"/>
            </a:lvl1pPr>
            <a:lvl2pPr marL="92075" indent="-92075">
              <a:defRPr sz="2000"/>
            </a:lvl2pPr>
            <a:lvl3pPr marL="182563" indent="-90488">
              <a:defRPr sz="2000"/>
            </a:lvl3pPr>
            <a:lvl4pPr marL="266700" indent="-84138">
              <a:defRPr sz="2000"/>
            </a:lvl4pPr>
            <a:lvl5pPr marL="357188" indent="-90488"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>
              <a:solidFill>
                <a:prstClr val="black"/>
              </a:solidFill>
            </a:endParaRPr>
          </a:p>
        </p:txBody>
      </p:sp>
      <p:grpSp>
        <p:nvGrpSpPr>
          <p:cNvPr id="1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21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22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1 February 2019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23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 dirty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20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24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10256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5228" y="641409"/>
            <a:ext cx="10925900" cy="323165"/>
          </a:xfrm>
          <a:prstGeom prst="rect">
            <a:avLst/>
          </a:prstGeom>
        </p:spPr>
        <p:txBody>
          <a:bodyPr lIns="121899" tIns="60949" rIns="121899" bIns="60949"/>
          <a:lstStyle/>
          <a:p>
            <a:r>
              <a:rPr lang="en-US" dirty="0"/>
              <a:t>Use sentence case for headers and make a point (1 line max)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85344" y="6621547"/>
            <a:ext cx="3594100" cy="153888"/>
          </a:xfrm>
          <a:prstGeom prst="rect">
            <a:avLst/>
          </a:prstGeom>
        </p:spPr>
        <p:txBody>
          <a:bodyPr lIns="121899" tIns="60949" rIns="121899" bIns="60949"/>
          <a:lstStyle/>
          <a:p>
            <a:pPr>
              <a:defRPr/>
            </a:pPr>
            <a:r>
              <a:rPr lang="en-US"/>
              <a:t>3M CONFIDENTIAL   © 3M 2013. All Rights Reserved.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60195" y="6004270"/>
            <a:ext cx="10363430" cy="471924"/>
          </a:xfrm>
          <a:prstGeom prst="rect">
            <a:avLst/>
          </a:prstGeom>
        </p:spPr>
        <p:txBody>
          <a:bodyPr lIns="121899" tIns="60949" rIns="121899" bIns="60949"/>
          <a:lstStyle/>
          <a:p>
            <a:r>
              <a:rPr lang="en-US"/>
              <a:t>Takeaway statement (1 line max, never cover copyright or 3M logo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38912" y="1499619"/>
            <a:ext cx="11167872" cy="1818937"/>
          </a:xfrm>
          <a:prstGeom prst="rect">
            <a:avLst/>
          </a:prstGeom>
        </p:spPr>
        <p:txBody>
          <a:bodyPr lIns="121899" tIns="60949" rIns="121899" bIns="60949">
            <a:spAutoFit/>
          </a:bodyPr>
          <a:lstStyle/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Bullet point</a:t>
            </a:r>
          </a:p>
          <a:p>
            <a:pPr lvl="2"/>
            <a:r>
              <a:rPr lang="en-US" dirty="0"/>
              <a:t>First sub-bullet</a:t>
            </a:r>
          </a:p>
          <a:p>
            <a:pPr lvl="3"/>
            <a:r>
              <a:rPr lang="en-US" dirty="0"/>
              <a:t>Second sub-bullet</a:t>
            </a:r>
          </a:p>
          <a:p>
            <a:pPr lvl="4"/>
            <a:r>
              <a:rPr lang="en-US" dirty="0"/>
              <a:t>Third sub-bullet</a:t>
            </a:r>
          </a:p>
        </p:txBody>
      </p:sp>
    </p:spTree>
    <p:extLst>
      <p:ext uri="{BB962C8B-B14F-4D97-AF65-F5344CB8AC3E}">
        <p14:creationId xmlns:p14="http://schemas.microsoft.com/office/powerpoint/2010/main" val="2610959927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5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6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8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9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 February 2019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0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7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1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88115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616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412" y="381000"/>
            <a:ext cx="11425237" cy="457200"/>
          </a:xfrm>
        </p:spPr>
        <p:txBody>
          <a:bodyPr rIns="0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7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8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0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1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 February 2019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2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9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3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939547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 February 2019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02130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3808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 February 2019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1"/>
            <a:ext cx="12192000" cy="152402"/>
          </a:xfrm>
          <a:prstGeom prst="rect">
            <a:avLst/>
          </a:prstGeom>
          <a:gradFill>
            <a:gsLst>
              <a:gs pos="0">
                <a:srgbClr val="00C8E6"/>
              </a:gs>
              <a:gs pos="97000">
                <a:srgbClr val="1E1E9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934610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4204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1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 February 2019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50233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5062350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412" y="381000"/>
            <a:ext cx="11425237" cy="8229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412" y="1295400"/>
            <a:ext cx="11425236" cy="4953000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1"/>
            <a:ext cx="12192000" cy="152402"/>
          </a:xfrm>
          <a:prstGeom prst="rect">
            <a:avLst/>
          </a:prstGeom>
          <a:gradFill>
            <a:gsLst>
              <a:gs pos="0">
                <a:srgbClr val="00C8E6"/>
              </a:gs>
              <a:gs pos="97000">
                <a:srgbClr val="1E1E9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152200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50" r:id="rId2"/>
    <p:sldLayoutId id="2147483828" r:id="rId3"/>
    <p:sldLayoutId id="2147483829" r:id="rId4"/>
    <p:sldLayoutId id="2147483666" r:id="rId5"/>
    <p:sldLayoutId id="2147483749" r:id="rId6"/>
    <p:sldLayoutId id="2147483727" r:id="rId7"/>
    <p:sldLayoutId id="2147483826" r:id="rId8"/>
    <p:sldLayoutId id="2147483751" r:id="rId9"/>
    <p:sldLayoutId id="2147483827" r:id="rId10"/>
    <p:sldLayoutId id="2147483671" r:id="rId11"/>
    <p:sldLayoutId id="2147483752" r:id="rId12"/>
    <p:sldLayoutId id="2147483728" r:id="rId13"/>
    <p:sldLayoutId id="2147483673" r:id="rId14"/>
    <p:sldLayoutId id="2147483672" r:id="rId15"/>
    <p:sldLayoutId id="2147483674" r:id="rId16"/>
    <p:sldLayoutId id="2147483676" r:id="rId17"/>
    <p:sldLayoutId id="2147483729" r:id="rId18"/>
    <p:sldLayoutId id="2147483675" r:id="rId19"/>
    <p:sldLayoutId id="2147483824" r:id="rId20"/>
    <p:sldLayoutId id="2147483667" r:id="rId21"/>
    <p:sldLayoutId id="2147483663" r:id="rId22"/>
    <p:sldLayoutId id="2147483753" r:id="rId23"/>
    <p:sldLayoutId id="2147483709" r:id="rId24"/>
    <p:sldLayoutId id="2147483765" r:id="rId25"/>
    <p:sldLayoutId id="2147483818" r:id="rId26"/>
    <p:sldLayoutId id="2147483816" r:id="rId27"/>
    <p:sldLayoutId id="2147483817" r:id="rId28"/>
    <p:sldLayoutId id="2147483830" r:id="rId29"/>
    <p:sldLayoutId id="2147483748" r:id="rId30"/>
    <p:sldLayoutId id="2147483806" r:id="rId31"/>
    <p:sldLayoutId id="2147483808" r:id="rId32"/>
    <p:sldLayoutId id="2147483819" r:id="rId33"/>
    <p:sldLayoutId id="2147483825" r:id="rId34"/>
    <p:sldLayoutId id="2147483820" r:id="rId35"/>
    <p:sldLayoutId id="2147483811" r:id="rId36"/>
    <p:sldLayoutId id="2147483812" r:id="rId37"/>
    <p:sldLayoutId id="2147483813" r:id="rId38"/>
    <p:sldLayoutId id="2147483814" r:id="rId39"/>
    <p:sldLayoutId id="2147483815" r:id="rId40"/>
    <p:sldLayoutId id="2147483833" r:id="rId4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US" sz="2000" kern="1200" dirty="0" smtClean="0">
          <a:solidFill>
            <a:schemeClr val="tx1"/>
          </a:solidFill>
          <a:latin typeface="+mn-lt"/>
          <a:ea typeface="+mj-ea"/>
          <a:cs typeface="+mj-cs"/>
        </a:defRPr>
      </a:lvl1pPr>
      <a:lvl2pPr marL="182563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GB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88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640" userDrawn="1">
          <p15:clr>
            <a:srgbClr val="F26B43"/>
          </p15:clr>
        </p15:guide>
        <p15:guide id="4" pos="1440" userDrawn="1">
          <p15:clr>
            <a:srgbClr val="F26B43"/>
          </p15:clr>
        </p15:guide>
        <p15:guide id="5" pos="240" userDrawn="1">
          <p15:clr>
            <a:srgbClr val="F26B43"/>
          </p15:clr>
        </p15:guide>
        <p15:guide id="6" pos="5040" userDrawn="1">
          <p15:clr>
            <a:srgbClr val="F26B43"/>
          </p15:clr>
        </p15:guide>
        <p15:guide id="7" pos="6240" userDrawn="1">
          <p15:clr>
            <a:srgbClr val="F26B43"/>
          </p15:clr>
        </p15:guide>
        <p15:guide id="8" pos="7440" userDrawn="1">
          <p15:clr>
            <a:srgbClr val="F26B43"/>
          </p15:clr>
        </p15:guide>
        <p15:guide id="9" orient="horz" pos="1474" userDrawn="1">
          <p15:clr>
            <a:srgbClr val="F26B43"/>
          </p15:clr>
        </p15:guide>
        <p15:guide id="10" orient="horz" pos="840" userDrawn="1">
          <p15:clr>
            <a:srgbClr val="F26B43"/>
          </p15:clr>
        </p15:guide>
        <p15:guide id="11" orient="horz" pos="240" userDrawn="1">
          <p15:clr>
            <a:srgbClr val="F26B43"/>
          </p15:clr>
        </p15:guide>
        <p15:guide id="12" orient="horz" pos="2696" userDrawn="1">
          <p15:clr>
            <a:srgbClr val="F26B43"/>
          </p15:clr>
        </p15:guide>
        <p15:guide id="14" orient="horz" pos="4080" userDrawn="1">
          <p15:clr>
            <a:srgbClr val="F26B43"/>
          </p15:clr>
        </p15:guide>
        <p15:guide id="15" orient="horz" pos="3936" userDrawn="1">
          <p15:clr>
            <a:srgbClr val="F26B43"/>
          </p15:clr>
        </p15:guide>
        <p15:guide id="17" pos="5034" userDrawn="1">
          <p15:clr>
            <a:srgbClr val="F26B43"/>
          </p15:clr>
        </p15:guide>
        <p15:guide id="18" orient="horz" pos="3312" userDrawn="1">
          <p15:clr>
            <a:srgbClr val="F26B43"/>
          </p15:clr>
        </p15:guide>
        <p15:guide id="19" orient="horz" pos="2702" userDrawn="1">
          <p15:clr>
            <a:srgbClr val="F26B43"/>
          </p15:clr>
        </p15:guide>
        <p15:guide id="21" pos="2634" userDrawn="1">
          <p15:clr>
            <a:srgbClr val="F26B43"/>
          </p15:clr>
        </p15:guide>
        <p15:guide id="22" pos="5046" userDrawn="1">
          <p15:clr>
            <a:srgbClr val="F26B43"/>
          </p15:clr>
        </p15:guide>
        <p15:guide id="23" orient="horz" pos="1468" userDrawn="1">
          <p15:clr>
            <a:srgbClr val="F26B43"/>
          </p15:clr>
        </p15:guide>
        <p15:guide id="25" orient="horz" pos="1480" userDrawn="1">
          <p15:clr>
            <a:srgbClr val="F26B43"/>
          </p15:clr>
        </p15:guide>
        <p15:guide id="26" orient="horz" pos="2706" userDrawn="1">
          <p15:clr>
            <a:srgbClr val="F26B43"/>
          </p15:clr>
        </p15:guide>
        <p15:guide id="27" pos="2648" userDrawn="1">
          <p15:clr>
            <a:srgbClr val="F26B43"/>
          </p15:clr>
        </p15:guide>
        <p15:guide id="28" orient="horz" pos="576" userDrawn="1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1.xml"/><Relationship Id="rId5" Type="http://schemas.openxmlformats.org/officeDocument/2006/relationships/image" Target="../media/image17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3M™ Advanced Flexible Engineer Grade Series 7300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84047" y="4339651"/>
            <a:ext cx="9472598" cy="864848"/>
          </a:xfrm>
        </p:spPr>
        <p:txBody>
          <a:bodyPr/>
          <a:lstStyle/>
          <a:p>
            <a:r>
              <a:rPr lang="en-US" dirty="0"/>
              <a:t>Transportation Safety Division</a:t>
            </a:r>
          </a:p>
          <a:p>
            <a:r>
              <a:rPr lang="en-US" dirty="0"/>
              <a:t>External Sales Presentatio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February, 2019</a:t>
            </a:r>
          </a:p>
        </p:txBody>
      </p:sp>
    </p:spTree>
    <p:extLst>
      <p:ext uri="{BB962C8B-B14F-4D97-AF65-F5344CB8AC3E}">
        <p14:creationId xmlns:p14="http://schemas.microsoft.com/office/powerpoint/2010/main" val="76852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6429365"/>
              </p:ext>
            </p:extLst>
          </p:nvPr>
        </p:nvGraphicFramePr>
        <p:xfrm>
          <a:off x="180962" y="1510012"/>
          <a:ext cx="11856366" cy="470877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3130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151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640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9640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6653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Unique Characteristic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eature 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dvantag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enefit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3291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Top Film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cratch</a:t>
                      </a:r>
                      <a:r>
                        <a:rPr lang="en-US" sz="1200" baseline="0" dirty="0"/>
                        <a:t> </a:t>
                      </a:r>
                      <a:r>
                        <a:rPr lang="en-US" sz="1200" dirty="0"/>
                        <a:t>resistant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Impervious</a:t>
                      </a:r>
                      <a:r>
                        <a:rPr lang="en-US" sz="1200" baseline="0" dirty="0"/>
                        <a:t> to scratching during application</a:t>
                      </a:r>
                      <a:endParaRPr lang="en-US" sz="1200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Satisfied</a:t>
                      </a:r>
                      <a:r>
                        <a:rPr lang="en-US" sz="1200" baseline="0" dirty="0"/>
                        <a:t> purchasing customers</a:t>
                      </a:r>
                      <a:endParaRPr lang="en-US" sz="1200" dirty="0"/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67722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Top Film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Impact </a:t>
                      </a:r>
                      <a:r>
                        <a:rPr lang="en-US" sz="1200" dirty="0"/>
                        <a:t>resistant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Longer</a:t>
                      </a:r>
                      <a:r>
                        <a:rPr lang="en-US" sz="1200" baseline="0" dirty="0"/>
                        <a:t> lasting devices</a:t>
                      </a:r>
                      <a:endParaRPr lang="en-US" sz="1200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&gt;Continued</a:t>
                      </a:r>
                      <a:r>
                        <a:rPr lang="en-US" sz="1200" baseline="0" dirty="0"/>
                        <a:t> service of devices</a:t>
                      </a:r>
                    </a:p>
                    <a:p>
                      <a:pPr algn="l"/>
                      <a:r>
                        <a:rPr lang="en-US" sz="1200" baseline="0" dirty="0"/>
                        <a:t>&gt;Mitigates needs to changes devices that are in service</a:t>
                      </a:r>
                      <a:endParaRPr lang="en-US" sz="1200" dirty="0"/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34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Top Film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Conformabl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l" defTabSz="9138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Meets multiple application requirements </a:t>
                      </a:r>
                      <a:r>
                        <a:rPr lang="en-US" sz="1200" dirty="0"/>
                        <a:t>from manual application to fully automated machine applicatio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l" defTabSz="9138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anufacturing</a:t>
                      </a:r>
                      <a:r>
                        <a:rPr lang="en-US" sz="1200" baseline="0" dirty="0"/>
                        <a:t> efficiencies</a:t>
                      </a:r>
                      <a:endParaRPr lang="en-US" sz="1200" dirty="0"/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133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Top Film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Conformabl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l" defTabSz="9138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onforms to virtually any curved surface for a flexible solutio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Manufacturing efficiencies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6389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Adhesive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Specially designed with pressure sensitive adhesive 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Optimized for low energy surfaces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l" defTabSz="9138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&gt;Manufacturing efficiencies</a:t>
                      </a:r>
                    </a:p>
                    <a:p>
                      <a:pPr marL="0" marR="0" lvl="0" indent="0" algn="l" defTabSz="9138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&gt;Long term</a:t>
                      </a:r>
                      <a:r>
                        <a:rPr lang="en-US" sz="1200" baseline="0" dirty="0"/>
                        <a:t> field performance</a:t>
                      </a:r>
                      <a:endParaRPr lang="en-US" sz="1200" dirty="0"/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53440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3M Prismatic 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l" defTabSz="9138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eets global retroreflective sheeting standards such as ASTM D-4956-16 Type 1 (USA), EN-12899-1 Class 1(EU),  JIS Z 9117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200" dirty="0"/>
                        <a:t>&gt;Retroreflective Performance (Initial &amp; Over-time)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200" dirty="0"/>
                        <a:t>&gt;Daytime/Night-time Color (Initial &amp; Over-time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&gt;Long term compliance to standards &amp;</a:t>
                      </a:r>
                      <a:r>
                        <a:rPr lang="en-US" sz="1200" baseline="0" dirty="0"/>
                        <a:t> </a:t>
                      </a:r>
                      <a:r>
                        <a:rPr lang="en-US" sz="1200" dirty="0"/>
                        <a:t>specifications</a:t>
                      </a:r>
                    </a:p>
                    <a:p>
                      <a:pPr algn="l"/>
                      <a:r>
                        <a:rPr lang="en-US" sz="1200" dirty="0"/>
                        <a:t>&gt;Enhanced</a:t>
                      </a:r>
                      <a:r>
                        <a:rPr lang="en-US" sz="1200" baseline="0" dirty="0"/>
                        <a:t> safety for all road users</a:t>
                      </a:r>
                      <a:endParaRPr lang="en-US" sz="1200" dirty="0"/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8080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3M™ Reflective Sheeting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l" defTabSz="9138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3M Brand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Credible</a:t>
                      </a:r>
                      <a:r>
                        <a:rPr lang="en-US" sz="1200" baseline="0" dirty="0"/>
                        <a:t>, compliant products</a:t>
                      </a:r>
                      <a:endParaRPr lang="en-US" sz="1200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&gt;Long term compliance to standards &amp;</a:t>
                      </a:r>
                      <a:r>
                        <a:rPr lang="en-US" sz="1200" baseline="0" dirty="0"/>
                        <a:t> </a:t>
                      </a:r>
                      <a:r>
                        <a:rPr lang="en-US" sz="1200" dirty="0"/>
                        <a:t>specifications</a:t>
                      </a:r>
                    </a:p>
                    <a:p>
                      <a:pPr algn="l"/>
                      <a:r>
                        <a:rPr lang="en-US" sz="1200" dirty="0"/>
                        <a:t>&gt;Enhanced</a:t>
                      </a:r>
                      <a:r>
                        <a:rPr lang="en-US" sz="1200" baseline="0" dirty="0"/>
                        <a:t> safety for all road users</a:t>
                      </a:r>
                      <a:endParaRPr lang="en-US" sz="1200" dirty="0"/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Title 6"/>
          <p:cNvSpPr txBox="1">
            <a:spLocks/>
          </p:cNvSpPr>
          <p:nvPr/>
        </p:nvSpPr>
        <p:spPr>
          <a:xfrm>
            <a:off x="259340" y="-575451"/>
            <a:ext cx="11425237" cy="457200"/>
          </a:xfrm>
          <a:prstGeom prst="rect">
            <a:avLst/>
          </a:prstGeom>
        </p:spPr>
        <p:txBody>
          <a:bodyPr/>
          <a:lstStyle>
            <a:lvl1pPr algn="l" defTabSz="91385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19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en-US" dirty="0"/>
            </a:b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B0A3B58-C777-4614-A069-EFE90F32F7C6}"/>
              </a:ext>
            </a:extLst>
          </p:cNvPr>
          <p:cNvSpPr txBox="1">
            <a:spLocks/>
          </p:cNvSpPr>
          <p:nvPr/>
        </p:nvSpPr>
        <p:spPr>
          <a:xfrm>
            <a:off x="407963" y="372715"/>
            <a:ext cx="10923053" cy="32316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/>
              <a:t>3M™ Advanced Flexible Engineer Grade</a:t>
            </a:r>
            <a:br>
              <a:rPr lang="en-US" b="1" dirty="0"/>
            </a:br>
            <a:r>
              <a:rPr lang="en-US" sz="2400" b="1" dirty="0"/>
              <a:t>Features, advantages, benefits summarized</a:t>
            </a:r>
          </a:p>
        </p:txBody>
      </p:sp>
    </p:spTree>
    <p:extLst>
      <p:ext uri="{BB962C8B-B14F-4D97-AF65-F5344CB8AC3E}">
        <p14:creationId xmlns:p14="http://schemas.microsoft.com/office/powerpoint/2010/main" val="1142371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C8D5204-D7FD-45ED-8A6F-F3B26D0D78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74997" y="2480008"/>
            <a:ext cx="2809067" cy="227851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637" y="641408"/>
            <a:ext cx="10923053" cy="323165"/>
          </a:xfrm>
        </p:spPr>
        <p:txBody>
          <a:bodyPr/>
          <a:lstStyle/>
          <a:p>
            <a:r>
              <a:rPr lang="en-US" b="1" dirty="0"/>
              <a:t>Why is 3M™ introducing a new flexible Engineer Grade Sheeting?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21174" y="1717002"/>
            <a:ext cx="9188473" cy="4625347"/>
          </a:xfrm>
        </p:spPr>
        <p:txBody>
          <a:bodyPr/>
          <a:lstStyle/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/>
              <a:t>Engineer Grade beaded sheeting was invented by 3M in 1948</a:t>
            </a:r>
          </a:p>
          <a:p>
            <a:pPr marL="2117">
              <a:buClr>
                <a:schemeClr val="tx1"/>
              </a:buClr>
            </a:pPr>
            <a:endParaRPr lang="en-US" dirty="0"/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/>
              <a:t>7300 series is an engineer grade sheeting that provides the benefits of microprismatic optics, improved whiteness, and ease of handling</a:t>
            </a:r>
          </a:p>
          <a:p>
            <a:pPr marL="2117">
              <a:buClr>
                <a:schemeClr val="tx1"/>
              </a:buClr>
            </a:pPr>
            <a:endParaRPr lang="en-US" dirty="0"/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/>
              <a:t>3M has improved Engineer Grade beaded sheeting by incorporating flexible and microprismatic qualities, delivering a unique solution to address the needs of the market for Temporary Traffic Control applications</a:t>
            </a:r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/>
              <a:t>3M’s Transportation Safety Division remains committed to developing new products &amp; technologies for all customers and all ranges of specification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53E1C2-CB9B-4B0E-9EA7-6EA468543C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975" y="6677025"/>
            <a:ext cx="2619375" cy="1809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DA3AD3D-ABEB-4A6C-806B-B40ABA18F2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92894" y="6481762"/>
            <a:ext cx="447675" cy="2857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B339934-E010-40A2-B56F-4C9BFD3ED4B2}"/>
              </a:ext>
            </a:extLst>
          </p:cNvPr>
          <p:cNvSpPr txBox="1"/>
          <p:nvPr/>
        </p:nvSpPr>
        <p:spPr>
          <a:xfrm>
            <a:off x="10124517" y="4758520"/>
            <a:ext cx="129874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/>
              <a:t>Note to approvers: This pic will be replaced with a new pic that includes red/white</a:t>
            </a:r>
          </a:p>
        </p:txBody>
      </p:sp>
    </p:spTree>
    <p:extLst>
      <p:ext uri="{BB962C8B-B14F-4D97-AF65-F5344CB8AC3E}">
        <p14:creationId xmlns:p14="http://schemas.microsoft.com/office/powerpoint/2010/main" val="3672550175"/>
      </p:ext>
    </p:extLst>
  </p:cSld>
  <p:clrMapOvr>
    <a:masterClrMapping/>
  </p:clrMapOvr>
  <p:transition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637" y="641408"/>
            <a:ext cx="10923053" cy="323165"/>
          </a:xfrm>
        </p:spPr>
        <p:txBody>
          <a:bodyPr/>
          <a:lstStyle/>
          <a:p>
            <a:r>
              <a:rPr lang="en-US" b="1" dirty="0"/>
              <a:t>3M™ Advanced Flexible Engineer Grade</a:t>
            </a:r>
            <a:br>
              <a:rPr lang="en-US" b="1" dirty="0"/>
            </a:br>
            <a:r>
              <a:rPr lang="en-US" sz="2400" b="1" dirty="0"/>
              <a:t>Series 7300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41354" y="1647038"/>
            <a:ext cx="9188473" cy="5740011"/>
          </a:xfrm>
        </p:spPr>
        <p:txBody>
          <a:bodyPr/>
          <a:lstStyle/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Optics</a:t>
            </a:r>
            <a:r>
              <a:rPr lang="en-US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en-US" dirty="0"/>
              <a:t>Benefits of prismatic retroreflective optics combined with handling you would typically expect from a beaded sheeting</a:t>
            </a:r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Conformability:</a:t>
            </a:r>
            <a:r>
              <a:rPr lang="en-US" i="1" dirty="0"/>
              <a:t>  </a:t>
            </a:r>
            <a:r>
              <a:rPr lang="en-US" dirty="0"/>
              <a:t>Meets multiple application requirements from manual application to fully automated machine application.  Conforms to virtually any curved surface for a flexible solution</a:t>
            </a:r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Adhesive:</a:t>
            </a:r>
            <a:r>
              <a:rPr lang="en-US" dirty="0"/>
              <a:t>  Pre-coated pressure sensitive adhesive optimized for metal and low energy surfaces like plastic and moderately rough or porous wood.</a:t>
            </a:r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Surface:</a:t>
            </a:r>
            <a:r>
              <a:rPr lang="en-US" dirty="0"/>
              <a:t>  Designed with an impact resistant coating making it resistant to scratching during application  and durable enough to withstand work zones and other harsh environments</a:t>
            </a:r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Compliant:</a:t>
            </a:r>
            <a:r>
              <a:rPr lang="en-US" dirty="0"/>
              <a:t>  Meets a variety of global specifications including ASTM-D4956 Type I and EN 12899-1 Class 1</a:t>
            </a:r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b="1" u="sng" dirty="0"/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b="1" u="sng" dirty="0"/>
          </a:p>
          <a:p>
            <a:pPr marL="2117">
              <a:buClr>
                <a:schemeClr val="tx1"/>
              </a:buClr>
            </a:pP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9965FBE-3418-42D7-ABF0-4DA99FE067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677025"/>
            <a:ext cx="2619375" cy="1809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6DBDA26-A5FA-4748-B396-7CE35277E4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1752" y="6504050"/>
            <a:ext cx="447675" cy="2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253345"/>
      </p:ext>
    </p:extLst>
  </p:cSld>
  <p:clrMapOvr>
    <a:masterClrMapping/>
  </p:clrMapOvr>
  <p:transition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300" y="337478"/>
            <a:ext cx="10923053" cy="323165"/>
          </a:xfrm>
        </p:spPr>
        <p:txBody>
          <a:bodyPr/>
          <a:lstStyle/>
          <a:p>
            <a:r>
              <a:rPr lang="en-US" sz="2400" b="1" dirty="0"/>
              <a:t>Great value for agencies who specify Engineer Grade performance in their work zon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336850" y="1220317"/>
            <a:ext cx="9878304" cy="6571007"/>
          </a:xfrm>
        </p:spPr>
        <p:txBody>
          <a:bodyPr/>
          <a:lstStyle/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Compliant:</a:t>
            </a:r>
            <a:r>
              <a:rPr lang="en-US" dirty="0"/>
              <a:t>  Meets a variety of global specifications including ASTM-D4956 Type I and EN 12899-1 Class 1</a:t>
            </a:r>
            <a:endParaRPr lang="en-US" b="1" u="sng" dirty="0"/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Colors:</a:t>
            </a:r>
            <a:r>
              <a:rPr lang="en-US" dirty="0"/>
              <a:t>  Meets all outdoor weathering requirements for ASTM-D4956 Type I and EN 12899-1 Class 1  </a:t>
            </a:r>
            <a:endParaRPr lang="en-US" b="1" u="sng" dirty="0"/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Impact Resistant:</a:t>
            </a:r>
            <a:r>
              <a:rPr lang="en-US" dirty="0"/>
              <a:t>  Shows no cracking or delamination outside of the actual area of impact when subjected to the impact test in accordance with ASTM-D4956 Type I and EN 12899-1 Class 1 </a:t>
            </a:r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Flexibility:</a:t>
            </a:r>
            <a:r>
              <a:rPr lang="en-US" dirty="0"/>
              <a:t>  Is sufﬁciently ﬂexible to show no cracking when tested in accordance ASTM-D4956 Type I and EN 12899-1 Class 1 </a:t>
            </a:r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Outdoor Weathering:</a:t>
            </a:r>
            <a:r>
              <a:rPr lang="en-US" dirty="0"/>
              <a:t>  Weather resistant and show no appreciable cracking, scaling, pitting, blistering, edge lifting, or curling, after outdoor exposures when tested in accordance ASTM-D4956 Type I and EN 12899-1 Class 1 </a:t>
            </a:r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Brand:</a:t>
            </a:r>
            <a:r>
              <a:rPr lang="en-US" dirty="0"/>
              <a:t>  The 3M™ brand is trusted and proven worldwide</a:t>
            </a:r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b="1" u="sng" dirty="0"/>
          </a:p>
          <a:p>
            <a:pPr marL="2117">
              <a:buClr>
                <a:schemeClr val="tx1"/>
              </a:buClr>
            </a:pP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BEA91F-7B21-407F-956A-5A536E62CF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84" y="6677025"/>
            <a:ext cx="2619375" cy="1809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63FEA62-46DD-4B75-8D68-15D848884C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8540" y="6572250"/>
            <a:ext cx="447675" cy="2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858466"/>
      </p:ext>
    </p:extLst>
  </p:cSld>
  <p:clrMapOvr>
    <a:masterClrMapping/>
  </p:clrMapOvr>
  <p:transition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259" y="293065"/>
            <a:ext cx="10923053" cy="323165"/>
          </a:xfrm>
        </p:spPr>
        <p:txBody>
          <a:bodyPr/>
          <a:lstStyle/>
          <a:p>
            <a:r>
              <a:rPr lang="en-US" sz="2400" b="1" dirty="0"/>
              <a:t>Manufacturing efficiency value for converters and manufacturers of traffic control devices who require Engineer Grade sheeting to service their customer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41354" y="1571882"/>
            <a:ext cx="9188473" cy="6219629"/>
          </a:xfrm>
        </p:spPr>
        <p:txBody>
          <a:bodyPr/>
          <a:lstStyle/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Adhesive:</a:t>
            </a:r>
            <a:r>
              <a:rPr lang="en-US" dirty="0"/>
              <a:t>  Pre-coated pressure sensitive adhesive optimized for metal and low energy surfaces like plastic and moderately rough or porous wood </a:t>
            </a:r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Substrates:</a:t>
            </a:r>
            <a:r>
              <a:rPr lang="en-US" dirty="0"/>
              <a:t>  Universal sheeting for multiple substrates with minimal  requirements for surface preparation*</a:t>
            </a:r>
            <a:endParaRPr lang="en-US" b="1" u="sng" dirty="0"/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Conformability:</a:t>
            </a:r>
            <a:r>
              <a:rPr lang="en-US" dirty="0"/>
              <a:t>  Meets multiple application requirements from manual application to fully automated machine application.  Conforms to virtually any curved surface for a flexible solution</a:t>
            </a:r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Liner:</a:t>
            </a:r>
            <a:r>
              <a:rPr lang="en-US" dirty="0"/>
              <a:t>  Easy removal </a:t>
            </a:r>
            <a:r>
              <a:rPr lang="en-US" dirty="0" err="1"/>
              <a:t>polycoated</a:t>
            </a:r>
            <a:r>
              <a:rPr lang="en-US" dirty="0"/>
              <a:t> paper liner with enhanced curl resistance</a:t>
            </a:r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Compatibility:</a:t>
            </a:r>
            <a:r>
              <a:rPr lang="en-US" dirty="0"/>
              <a:t>  Compatible with flatbed cutting, die cutting, or other converting methods</a:t>
            </a:r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Brand:</a:t>
            </a:r>
            <a:r>
              <a:rPr lang="en-US" dirty="0"/>
              <a:t>  The 3M™ brand is trusted and proven worldwide</a:t>
            </a:r>
            <a:endParaRPr lang="en-US" b="1" u="sng" dirty="0"/>
          </a:p>
          <a:p>
            <a:pPr marL="2117">
              <a:buClr>
                <a:schemeClr val="tx1"/>
              </a:buClr>
            </a:pPr>
            <a:endParaRPr lang="en-US" b="1" u="sng" dirty="0"/>
          </a:p>
          <a:p>
            <a:r>
              <a:rPr lang="en-US" sz="1600" dirty="0"/>
              <a:t>*See information folders and Product Bulletins for specific surface preparation requirements.</a:t>
            </a:r>
          </a:p>
          <a:p>
            <a:pPr marL="2117">
              <a:buClr>
                <a:schemeClr val="tx1"/>
              </a:buClr>
            </a:pPr>
            <a:endParaRPr lang="en-US" dirty="0"/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b="1" u="sng" dirty="0"/>
          </a:p>
          <a:p>
            <a:pPr marL="2117">
              <a:buClr>
                <a:schemeClr val="tx1"/>
              </a:buClr>
            </a:pP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33F880-3CEF-4D6F-9360-2EAB80A03C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2600" y="2070667"/>
            <a:ext cx="2071607" cy="138279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8FC02ED-B661-4CF2-A2C1-BB4527CBA7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581" y="6677025"/>
            <a:ext cx="2619375" cy="1809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C745168-132F-4727-8691-ED4FDCB366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1752" y="6534150"/>
            <a:ext cx="447675" cy="2857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CA65745-36F7-4C29-B1FE-ABFE92916F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7640" y="4278314"/>
            <a:ext cx="2566567" cy="171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273184"/>
      </p:ext>
    </p:extLst>
  </p:cSld>
  <p:clrMapOvr>
    <a:masterClrMapping/>
  </p:clrMapOvr>
  <p:transition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4054" y="475945"/>
            <a:ext cx="10923053" cy="323165"/>
          </a:xfrm>
        </p:spPr>
        <p:txBody>
          <a:bodyPr/>
          <a:lstStyle/>
          <a:p>
            <a:r>
              <a:rPr lang="en-US" sz="2400" b="1" dirty="0"/>
              <a:t>Long-lasting value for end-users who require Engineer Grade sheeting and rely on their devices to remain compliant thorough out their typical service life  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14A4665-2241-422C-A766-16C47A9CDD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92527" y="2126445"/>
            <a:ext cx="2085119" cy="1391817"/>
          </a:xfrm>
          <a:prstGeom prst="rect">
            <a:avLst/>
          </a:prstGeom>
        </p:spPr>
      </p:pic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AE64044F-AD25-4689-B01A-746DE0B0407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04054" y="1290982"/>
            <a:ext cx="9188473" cy="6494063"/>
          </a:xfrm>
        </p:spPr>
        <p:txBody>
          <a:bodyPr/>
          <a:lstStyle/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Compliant:</a:t>
            </a:r>
            <a:r>
              <a:rPr lang="en-US" dirty="0"/>
              <a:t>  Meets a variety of global specifications including ASTM-D4956 Type I and EN 12899-1 Class 1</a:t>
            </a:r>
            <a:endParaRPr lang="en-US" b="1" u="sng" dirty="0"/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Colors:</a:t>
            </a:r>
            <a:r>
              <a:rPr lang="en-US" dirty="0"/>
              <a:t>  Meets all outdoor weathering requirements for ASTM-D4956 Type I and EN 12899-1 Class 1  </a:t>
            </a:r>
            <a:endParaRPr lang="en-US" b="1" u="sng" dirty="0"/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Impact Resistant:</a:t>
            </a:r>
            <a:r>
              <a:rPr lang="en-US" dirty="0"/>
              <a:t>  Shows no cracking or delamination outside of the actual area of impact when subjected to the impact test in accordance with ASTM-D4956 Type I and EN 12899-1 Class 1 </a:t>
            </a:r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Flexibility:</a:t>
            </a:r>
            <a:r>
              <a:rPr lang="en-US" dirty="0"/>
              <a:t>  Is sufﬁciently ﬂexible to show no cracking when tested in accordance ASTM-D4956 Type I and EN 12899-1 Class 1 </a:t>
            </a:r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Outdoor Weathering:</a:t>
            </a:r>
            <a:r>
              <a:rPr lang="en-US" dirty="0"/>
              <a:t>  Weather resistant and show no appreciable cracking, scaling, pitting, blistering, edge lifting, or curling, after outdoor exposures  when tested in accordance ASTM-D4956 Type I and EN 12899-1 Class 1 </a:t>
            </a:r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b="1" u="sng" dirty="0"/>
              <a:t>Brand:</a:t>
            </a:r>
            <a:r>
              <a:rPr lang="en-US" dirty="0"/>
              <a:t>  The 3M™ brand is trusted and proven worldwide</a:t>
            </a:r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dirty="0"/>
          </a:p>
          <a:p>
            <a:pPr marL="345017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b="1" u="sng" dirty="0"/>
          </a:p>
          <a:p>
            <a:pPr marL="2117">
              <a:buClr>
                <a:schemeClr val="tx1"/>
              </a:buClr>
            </a:pP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679D129-12B8-4DD2-A8CD-1AD9D5473E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187" y="6569392"/>
            <a:ext cx="2619375" cy="1809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BEAF8D9-91A1-4BD5-8D83-153CF01005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42678" y="6464617"/>
            <a:ext cx="447675" cy="2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468504"/>
      </p:ext>
    </p:extLst>
  </p:cSld>
  <p:clrMapOvr>
    <a:masterClrMapping/>
  </p:clrMapOvr>
  <p:transition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3M™ Advanced Flexible Engineer Grade</a:t>
            </a:r>
            <a:br>
              <a:rPr lang="en-US" b="1" dirty="0"/>
            </a:br>
            <a:r>
              <a:rPr lang="en-US" sz="2400" b="1" dirty="0"/>
              <a:t>Series 7300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1B8EFEC8-018C-47B7-A860-6722FCE2B4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7322891"/>
              </p:ext>
            </p:extLst>
          </p:nvPr>
        </p:nvGraphicFramePr>
        <p:xfrm>
          <a:off x="4789714" y="2026208"/>
          <a:ext cx="7024914" cy="280558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713577">
                  <a:extLst>
                    <a:ext uri="{9D8B030D-6E8A-4147-A177-3AD203B41FA5}">
                      <a16:colId xmlns:a16="http://schemas.microsoft.com/office/drawing/2014/main" val="2551873027"/>
                    </a:ext>
                  </a:extLst>
                </a:gridCol>
                <a:gridCol w="2219794">
                  <a:extLst>
                    <a:ext uri="{9D8B030D-6E8A-4147-A177-3AD203B41FA5}">
                      <a16:colId xmlns:a16="http://schemas.microsoft.com/office/drawing/2014/main" val="1418813120"/>
                    </a:ext>
                  </a:extLst>
                </a:gridCol>
                <a:gridCol w="3091543">
                  <a:extLst>
                    <a:ext uri="{9D8B030D-6E8A-4147-A177-3AD203B41FA5}">
                      <a16:colId xmlns:a16="http://schemas.microsoft.com/office/drawing/2014/main" val="4198216034"/>
                    </a:ext>
                  </a:extLst>
                </a:gridCol>
              </a:tblGrid>
              <a:tr h="342099">
                <a:tc>
                  <a:txBody>
                    <a:bodyPr/>
                    <a:lstStyle/>
                    <a:p>
                      <a:r>
                        <a:rPr lang="en-US" dirty="0"/>
                        <a:t>Standard Col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duct 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andard Roll Width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2163181"/>
                  </a:ext>
                </a:extLst>
              </a:tr>
              <a:tr h="342099">
                <a:tc>
                  <a:txBody>
                    <a:bodyPr/>
                    <a:lstStyle/>
                    <a:p>
                      <a:r>
                        <a:rPr lang="en-US" dirty="0"/>
                        <a:t>Wh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3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”, 6” 24”, 30” 36” 48”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7288125"/>
                  </a:ext>
                </a:extLst>
              </a:tr>
              <a:tr h="342099">
                <a:tc>
                  <a:txBody>
                    <a:bodyPr/>
                    <a:lstStyle/>
                    <a:p>
                      <a:r>
                        <a:rPr lang="en-US" dirty="0"/>
                        <a:t>Or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3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4”, 6” 24”, 30” 36” 48”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1455276"/>
                  </a:ext>
                </a:extLst>
              </a:tr>
              <a:tr h="342099">
                <a:tc>
                  <a:txBody>
                    <a:bodyPr/>
                    <a:lstStyle/>
                    <a:p>
                      <a:r>
                        <a:rPr lang="en-US" dirty="0"/>
                        <a:t>Yel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3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24”, 30” 36” 48”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812642"/>
                  </a:ext>
                </a:extLst>
              </a:tr>
              <a:tr h="342099">
                <a:tc>
                  <a:txBody>
                    <a:bodyPr/>
                    <a:lstStyle/>
                    <a:p>
                      <a:r>
                        <a:rPr lang="en-US" dirty="0"/>
                        <a:t>Orange/Wh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334 or 73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8”, 12” 24”, 48”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2065745"/>
                  </a:ext>
                </a:extLst>
              </a:tr>
              <a:tr h="342099">
                <a:tc>
                  <a:txBody>
                    <a:bodyPr/>
                    <a:lstStyle/>
                    <a:p>
                      <a:r>
                        <a:rPr lang="en-US" dirty="0"/>
                        <a:t>Red/Wh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3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2”, 24”, 48”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0771250"/>
                  </a:ext>
                </a:extLst>
              </a:tr>
              <a:tr h="336701">
                <a:tc gridSpan="3">
                  <a:txBody>
                    <a:bodyPr/>
                    <a:lstStyle/>
                    <a:p>
                      <a:r>
                        <a:rPr lang="en-US" sz="1200" dirty="0"/>
                        <a:t>* Check with your local 3M representative for additional size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130332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BFBF3FD6-5244-4CA7-B82D-BF2952D9061C}"/>
              </a:ext>
            </a:extLst>
          </p:cNvPr>
          <p:cNvSpPr txBox="1"/>
          <p:nvPr/>
        </p:nvSpPr>
        <p:spPr>
          <a:xfrm>
            <a:off x="377372" y="1305341"/>
            <a:ext cx="4127863" cy="42473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dirty="0"/>
              <a:t>Recommended Uses:</a:t>
            </a:r>
          </a:p>
          <a:p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400" dirty="0"/>
              <a:t>Polyvinyl chloride (PVC) traffic cones</a:t>
            </a:r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400" dirty="0" err="1"/>
              <a:t>Reboundable</a:t>
            </a:r>
            <a:r>
              <a:rPr lang="en-US" sz="1400" dirty="0"/>
              <a:t> plastic traffic control device such as drums, barricades, channelizers, posts and tub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400" dirty="0"/>
              <a:t>Other low energy surfaces used for traffic control devices such as pre-treated plywood, and moderately rough or porous wood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400" dirty="0"/>
              <a:t>Other applications where a flexible reflective sheeting is required that is compatible with a variety of substrat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400" dirty="0"/>
          </a:p>
          <a:p>
            <a:endParaRPr lang="en-US" sz="2000" dirty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753745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Questions?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7999412" y="6541346"/>
            <a:ext cx="2880000" cy="1296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3M Confidential © 3M 2015. All Rights Reserved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469688" y="6541346"/>
            <a:ext cx="334962" cy="129600"/>
          </a:xfrm>
          <a:prstGeom prst="rect">
            <a:avLst/>
          </a:prstGeom>
        </p:spPr>
        <p:txBody>
          <a:bodyPr/>
          <a:lstStyle/>
          <a:p>
            <a:fld id="{4EBD9C37-9F4E-4213-812A-3B706E323640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9542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ank you!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7999412" y="6541346"/>
            <a:ext cx="2880000" cy="1296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3M Confidential © 3M 2015. All Rights Reserved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469688" y="6541346"/>
            <a:ext cx="334962" cy="129600"/>
          </a:xfrm>
          <a:prstGeom prst="rect">
            <a:avLst/>
          </a:prstGeom>
        </p:spPr>
        <p:txBody>
          <a:bodyPr/>
          <a:lstStyle/>
          <a:p>
            <a:fld id="{4EBD9C37-9F4E-4213-812A-3B706E323640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1298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50209_3M_PPTTemplate_v7">
  <a:themeElements>
    <a:clrScheme name="TRIFECTA 8 LtBlue_DkBlue_Pur-A">
      <a:dk1>
        <a:sysClr val="windowText" lastClr="000000"/>
      </a:dk1>
      <a:lt1>
        <a:srgbClr val="FFFFFF"/>
      </a:lt1>
      <a:dk2>
        <a:srgbClr val="A8A8A8"/>
      </a:dk2>
      <a:lt2>
        <a:srgbClr val="595959"/>
      </a:lt2>
      <a:accent1>
        <a:srgbClr val="00C8E6"/>
      </a:accent1>
      <a:accent2>
        <a:srgbClr val="1E1E96"/>
      </a:accent2>
      <a:accent3>
        <a:srgbClr val="8228B4"/>
      </a:accent3>
      <a:accent4>
        <a:srgbClr val="008423"/>
      </a:accent4>
      <a:accent5>
        <a:srgbClr val="D2D2D2"/>
      </a:accent5>
      <a:accent6>
        <a:srgbClr val="FF0000"/>
      </a:accent6>
      <a:hlink>
        <a:srgbClr val="0563C1"/>
      </a:hlink>
      <a:folHlink>
        <a:srgbClr val="1E4E79"/>
      </a:folHlink>
    </a:clrScheme>
    <a:fontScheme name="3M Fonts TTF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lIns="180000" tIns="180000" rIns="180000" bIns="180000" rtlCol="0" anchor="t"/>
      <a:lstStyle>
        <a:defPPr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B855991-E11B-4FE6-99AC-122B2F4BC96D}" vid="{8ADE108D-080C-49EF-B933-64D7F307B799}"/>
    </a:ext>
  </a:extLst>
</a:theme>
</file>

<file path=ppt/theme/theme2.xml><?xml version="1.0" encoding="utf-8"?>
<a:theme xmlns:a="http://schemas.openxmlformats.org/drawingml/2006/main" name="Office Theme">
  <a:themeElements>
    <a:clrScheme name="3M Colours">
      <a:dk1>
        <a:sysClr val="windowText" lastClr="000000"/>
      </a:dk1>
      <a:lt1>
        <a:sysClr val="window" lastClr="FFFFFF"/>
      </a:lt1>
      <a:dk2>
        <a:srgbClr val="595959"/>
      </a:dk2>
      <a:lt2>
        <a:srgbClr val="D2D2D2"/>
      </a:lt2>
      <a:accent1>
        <a:srgbClr val="FF0000"/>
      </a:accent1>
      <a:accent2>
        <a:srgbClr val="F5821E"/>
      </a:accent2>
      <a:accent3>
        <a:srgbClr val="FAAA19"/>
      </a:accent3>
      <a:accent4>
        <a:srgbClr val="FF0000"/>
      </a:accent4>
      <a:accent5>
        <a:srgbClr val="F5821E"/>
      </a:accent5>
      <a:accent6>
        <a:srgbClr val="FAAA19"/>
      </a:accent6>
      <a:hlink>
        <a:srgbClr val="000000"/>
      </a:hlink>
      <a:folHlink>
        <a:srgbClr val="000000"/>
      </a:folHlink>
    </a:clrScheme>
    <a:fontScheme name="3M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3M Colours">
      <a:dk1>
        <a:sysClr val="windowText" lastClr="000000"/>
      </a:dk1>
      <a:lt1>
        <a:sysClr val="window" lastClr="FFFFFF"/>
      </a:lt1>
      <a:dk2>
        <a:srgbClr val="595959"/>
      </a:dk2>
      <a:lt2>
        <a:srgbClr val="D2D2D2"/>
      </a:lt2>
      <a:accent1>
        <a:srgbClr val="FF0000"/>
      </a:accent1>
      <a:accent2>
        <a:srgbClr val="F5821E"/>
      </a:accent2>
      <a:accent3>
        <a:srgbClr val="FAAA19"/>
      </a:accent3>
      <a:accent4>
        <a:srgbClr val="FF0000"/>
      </a:accent4>
      <a:accent5>
        <a:srgbClr val="F5821E"/>
      </a:accent5>
      <a:accent6>
        <a:srgbClr val="FAAA19"/>
      </a:accent6>
      <a:hlink>
        <a:srgbClr val="000000"/>
      </a:hlink>
      <a:folHlink>
        <a:srgbClr val="000000"/>
      </a:folHlink>
    </a:clrScheme>
    <a:fontScheme name="3M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3M_PPT_Presentation_020915</Template>
  <TotalTime>0</TotalTime>
  <Words>1033</Words>
  <Application>Microsoft Office PowerPoint</Application>
  <PresentationFormat>Widescreen</PresentationFormat>
  <Paragraphs>122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ＭＳ Ｐゴシック</vt:lpstr>
      <vt:lpstr>3M Circular TT Bold</vt:lpstr>
      <vt:lpstr>3M Circular TT Book</vt:lpstr>
      <vt:lpstr>Arial</vt:lpstr>
      <vt:lpstr>Wingdings</vt:lpstr>
      <vt:lpstr>150209_3M_PPTTemplate_v7</vt:lpstr>
      <vt:lpstr>think-cell Slide</vt:lpstr>
      <vt:lpstr>3M™ Advanced Flexible Engineer Grade Series 7300</vt:lpstr>
      <vt:lpstr>Why is 3M™ introducing a new flexible Engineer Grade Sheeting?</vt:lpstr>
      <vt:lpstr>3M™ Advanced Flexible Engineer Grade Series 7300</vt:lpstr>
      <vt:lpstr>Great value for agencies who specify Engineer Grade performance in their work zones</vt:lpstr>
      <vt:lpstr>Manufacturing efficiency value for converters and manufacturers of traffic control devices who require Engineer Grade sheeting to service their customers</vt:lpstr>
      <vt:lpstr>Long-lasting value for end-users who require Engineer Grade sheeting and rely on their devices to remain compliant thorough out their typical service life   </vt:lpstr>
      <vt:lpstr>3M™ Advanced Flexible Engineer Grade Series 7300</vt:lpstr>
      <vt:lpstr>Questions?</vt:lpstr>
      <vt:lpstr>Thank you!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5 Trifecta 1.0</dc:title>
  <dc:creator/>
  <dc:description>brand.3M.com</dc:description>
  <cp:lastModifiedBy/>
  <cp:revision>1</cp:revision>
  <dcterms:created xsi:type="dcterms:W3CDTF">2015-02-10T20:12:44Z</dcterms:created>
  <dcterms:modified xsi:type="dcterms:W3CDTF">2019-02-01T18:33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958178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6.0.7</vt:lpwstr>
  </property>
</Properties>
</file>